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4"/>
  </p:sldMasterIdLst>
  <p:notesMasterIdLst>
    <p:notesMasterId r:id="rId17"/>
  </p:notesMasterIdLst>
  <p:handoutMasterIdLst>
    <p:handoutMasterId r:id="rId18"/>
  </p:handoutMasterIdLst>
  <p:sldIdLst>
    <p:sldId id="256" r:id="rId5"/>
    <p:sldId id="271" r:id="rId6"/>
    <p:sldId id="272" r:id="rId7"/>
    <p:sldId id="273" r:id="rId8"/>
    <p:sldId id="268" r:id="rId9"/>
    <p:sldId id="277" r:id="rId10"/>
    <p:sldId id="274" r:id="rId11"/>
    <p:sldId id="275" r:id="rId12"/>
    <p:sldId id="276" r:id="rId13"/>
    <p:sldId id="269" r:id="rId14"/>
    <p:sldId id="270" r:id="rId15"/>
    <p:sldId id="267" r:id="rId16"/>
  </p:sldIdLst>
  <p:sldSz cx="10693400" cy="7561263"/>
  <p:notesSz cx="6858000" cy="9945688"/>
  <p:defaultTextStyle>
    <a:defPPr>
      <a:defRPr lang="de-DE"/>
    </a:defPPr>
    <a:lvl1pPr algn="l" rtl="0" fontAlgn="base">
      <a:lnSpc>
        <a:spcPts val="1138"/>
      </a:lnSpc>
      <a:spcBef>
        <a:spcPct val="0"/>
      </a:spcBef>
      <a:spcAft>
        <a:spcPct val="55000"/>
      </a:spcAft>
      <a:buClr>
        <a:srgbClr val="E19900"/>
      </a:buClr>
      <a:buFont typeface="Arial" pitchFamily="34" charset="0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lnSpc>
        <a:spcPts val="1138"/>
      </a:lnSpc>
      <a:spcBef>
        <a:spcPct val="0"/>
      </a:spcBef>
      <a:spcAft>
        <a:spcPct val="55000"/>
      </a:spcAft>
      <a:buClr>
        <a:srgbClr val="E19900"/>
      </a:buClr>
      <a:buFont typeface="Arial" pitchFamily="34" charset="0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lnSpc>
        <a:spcPts val="1138"/>
      </a:lnSpc>
      <a:spcBef>
        <a:spcPct val="0"/>
      </a:spcBef>
      <a:spcAft>
        <a:spcPct val="55000"/>
      </a:spcAft>
      <a:buClr>
        <a:srgbClr val="E19900"/>
      </a:buClr>
      <a:buFont typeface="Arial" pitchFamily="34" charset="0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lnSpc>
        <a:spcPts val="1138"/>
      </a:lnSpc>
      <a:spcBef>
        <a:spcPct val="0"/>
      </a:spcBef>
      <a:spcAft>
        <a:spcPct val="55000"/>
      </a:spcAft>
      <a:buClr>
        <a:srgbClr val="E19900"/>
      </a:buClr>
      <a:buFont typeface="Arial" pitchFamily="34" charset="0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lnSpc>
        <a:spcPts val="1138"/>
      </a:lnSpc>
      <a:spcBef>
        <a:spcPct val="0"/>
      </a:spcBef>
      <a:spcAft>
        <a:spcPct val="55000"/>
      </a:spcAft>
      <a:buClr>
        <a:srgbClr val="E19900"/>
      </a:buClr>
      <a:buFont typeface="Arial" pitchFamily="34" charset="0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86">
          <p15:clr>
            <a:srgbClr val="A4A3A4"/>
          </p15:clr>
        </p15:guide>
        <p15:guide id="2" orient="horz" pos="805">
          <p15:clr>
            <a:srgbClr val="A4A3A4"/>
          </p15:clr>
        </p15:guide>
        <p15:guide id="3" orient="horz" pos="1734">
          <p15:clr>
            <a:srgbClr val="A4A3A4"/>
          </p15:clr>
        </p15:guide>
        <p15:guide id="4" orient="horz" pos="4457">
          <p15:clr>
            <a:srgbClr val="A4A3A4"/>
          </p15:clr>
        </p15:guide>
        <p15:guide id="5" orient="horz" pos="4627">
          <p15:clr>
            <a:srgbClr val="A4A3A4"/>
          </p15:clr>
        </p15:guide>
        <p15:guide id="6" orient="horz" pos="4229">
          <p15:clr>
            <a:srgbClr val="A4A3A4"/>
          </p15:clr>
        </p15:guide>
        <p15:guide id="7" orient="horz" pos="556">
          <p15:clr>
            <a:srgbClr val="A4A3A4"/>
          </p15:clr>
        </p15:guide>
        <p15:guide id="8" orient="horz" pos="647">
          <p15:clr>
            <a:srgbClr val="A4A3A4"/>
          </p15:clr>
        </p15:guide>
        <p15:guide id="9" pos="6508">
          <p15:clr>
            <a:srgbClr val="A4A3A4"/>
          </p15:clr>
        </p15:guide>
        <p15:guide id="10" pos="5183">
          <p15:clr>
            <a:srgbClr val="A4A3A4"/>
          </p15:clr>
        </p15:guide>
        <p15:guide id="11" pos="228">
          <p15:clr>
            <a:srgbClr val="A4A3A4"/>
          </p15:clr>
        </p15:guide>
        <p15:guide id="12" pos="1550">
          <p15:clr>
            <a:srgbClr val="A4A3A4"/>
          </p15:clr>
        </p15:guide>
        <p15:guide id="13" pos="515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orient="horz" pos="6085">
          <p15:clr>
            <a:srgbClr val="A4A3A4"/>
          </p15:clr>
        </p15:guide>
        <p15:guide id="3" orient="horz" pos="6184">
          <p15:clr>
            <a:srgbClr val="A4A3A4"/>
          </p15:clr>
        </p15:guide>
        <p15:guide id="4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0000FF"/>
    <a:srgbClr val="99FF66"/>
    <a:srgbClr val="CC0000"/>
    <a:srgbClr val="FDE3C3"/>
    <a:srgbClr val="FAAB4F"/>
    <a:srgbClr val="FF0000"/>
    <a:srgbClr val="E1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09" autoAdjust="0"/>
    <p:restoredTop sz="91525" autoAdjust="0"/>
  </p:normalViewPr>
  <p:slideViewPr>
    <p:cSldViewPr snapToGrid="0">
      <p:cViewPr varScale="1">
        <p:scale>
          <a:sx n="86" d="100"/>
          <a:sy n="86" d="100"/>
        </p:scale>
        <p:origin x="1104" y="53"/>
      </p:cViewPr>
      <p:guideLst>
        <p:guide orient="horz" pos="4186"/>
        <p:guide orient="horz" pos="805"/>
        <p:guide orient="horz" pos="1734"/>
        <p:guide orient="horz" pos="4457"/>
        <p:guide orient="horz" pos="4627"/>
        <p:guide orient="horz" pos="4229"/>
        <p:guide orient="horz" pos="556"/>
        <p:guide orient="horz" pos="647"/>
        <p:guide pos="6508"/>
        <p:guide pos="5183"/>
        <p:guide pos="228"/>
        <p:guide pos="1550"/>
        <p:guide pos="5151"/>
      </p:guideLst>
    </p:cSldViewPr>
  </p:slideViewPr>
  <p:outlineViewPr>
    <p:cViewPr>
      <p:scale>
        <a:sx n="33" d="100"/>
        <a:sy n="33" d="100"/>
      </p:scale>
      <p:origin x="30" y="25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3139" y="38"/>
      </p:cViewPr>
      <p:guideLst>
        <p:guide orient="horz" pos="3133"/>
        <p:guide orient="horz" pos="6085"/>
        <p:guide orient="horz" pos="6184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090" name="Picture 12" descr="continental_255_153_0_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10063" y="9447213"/>
            <a:ext cx="22479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5" name="Line 13"/>
          <p:cNvSpPr>
            <a:spLocks noChangeShapeType="1"/>
          </p:cNvSpPr>
          <p:nvPr/>
        </p:nvSpPr>
        <p:spPr bwMode="auto">
          <a:xfrm>
            <a:off x="301625" y="9371013"/>
            <a:ext cx="62563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none" w="sm" len="lg"/>
          </a:ln>
          <a:effectLst/>
        </p:spPr>
        <p:txBody>
          <a:bodyPr lIns="92016" tIns="46008" rIns="92016" bIns="46008" anchor="b"/>
          <a:lstStyle/>
          <a:p>
            <a:pPr algn="ctr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/>
            </a:pPr>
            <a:endParaRPr lang="ro-RO">
              <a:latin typeface="Arial" charset="0"/>
            </a:endParaRPr>
          </a:p>
        </p:txBody>
      </p:sp>
      <p:sp>
        <p:nvSpPr>
          <p:cNvPr id="28686" name="Rectangle 14"/>
          <p:cNvSpPr>
            <a:spLocks noChangeArrowheads="1"/>
          </p:cNvSpPr>
          <p:nvPr/>
        </p:nvSpPr>
        <p:spPr bwMode="auto">
          <a:xfrm>
            <a:off x="166688" y="9596438"/>
            <a:ext cx="800100" cy="260350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lg"/>
          </a:ln>
          <a:effectLst/>
        </p:spPr>
        <p:txBody>
          <a:bodyPr wrap="none" lIns="108021" tIns="54010" rIns="108021" bIns="54010">
            <a:spAutoFit/>
          </a:bodyPr>
          <a:lstStyle/>
          <a:p>
            <a:pPr defTabSz="920750"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de-DE" sz="1000">
                <a:latin typeface="Arial" charset="0"/>
              </a:rPr>
              <a:t>Page </a:t>
            </a:r>
            <a:fld id="{E0E55B51-A205-4E36-96FF-C54E4E3F26DE}" type="slidenum">
              <a:rPr lang="de-DE" sz="1000">
                <a:latin typeface="Arial" charset="0"/>
              </a:rPr>
              <a:pPr defTabSz="920750" ea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de-DE" sz="1000">
              <a:latin typeface="Arial" charset="0"/>
            </a:endParaRPr>
          </a:p>
        </p:txBody>
      </p:sp>
      <p:sp>
        <p:nvSpPr>
          <p:cNvPr id="28687" name="Line 15"/>
          <p:cNvSpPr>
            <a:spLocks noChangeShapeType="1"/>
          </p:cNvSpPr>
          <p:nvPr/>
        </p:nvSpPr>
        <p:spPr bwMode="auto">
          <a:xfrm>
            <a:off x="298450" y="619125"/>
            <a:ext cx="62563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none" w="sm" len="lg"/>
          </a:ln>
          <a:effectLst/>
        </p:spPr>
        <p:txBody>
          <a:bodyPr lIns="92016" tIns="46008" rIns="92016" bIns="46008" anchor="b"/>
          <a:lstStyle/>
          <a:p>
            <a:pPr algn="ctr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/>
            </a:pPr>
            <a:endParaRPr lang="ro-RO">
              <a:latin typeface="Arial" charset="0"/>
            </a:endParaRPr>
          </a:p>
        </p:txBody>
      </p:sp>
      <p:sp>
        <p:nvSpPr>
          <p:cNvPr id="28688" name="Rectangle 1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09563" y="0"/>
            <a:ext cx="6256337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 b="1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944721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99998C9-3B9C-4621-8F6B-2FCCB1DC56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23281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92163" y="746125"/>
            <a:ext cx="5273675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724400"/>
            <a:ext cx="5486400" cy="447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pic>
        <p:nvPicPr>
          <p:cNvPr id="128004" name="Picture 11" descr="continental_255_153_0_RG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10063" y="9447213"/>
            <a:ext cx="22479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2" name="Line 12"/>
          <p:cNvSpPr>
            <a:spLocks noChangeShapeType="1"/>
          </p:cNvSpPr>
          <p:nvPr/>
        </p:nvSpPr>
        <p:spPr bwMode="auto">
          <a:xfrm>
            <a:off x="301625" y="9371013"/>
            <a:ext cx="62563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none" w="sm" len="lg"/>
          </a:ln>
          <a:effectLst/>
        </p:spPr>
        <p:txBody>
          <a:bodyPr lIns="92016" tIns="46008" rIns="92016" bIns="46008" anchor="b"/>
          <a:lstStyle/>
          <a:p>
            <a:pPr algn="ctr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/>
            </a:pPr>
            <a:endParaRPr lang="ro-RO">
              <a:latin typeface="Arial" charset="0"/>
            </a:endParaRPr>
          </a:p>
        </p:txBody>
      </p:sp>
      <p:sp>
        <p:nvSpPr>
          <p:cNvPr id="5133" name="Rectangle 13"/>
          <p:cNvSpPr>
            <a:spLocks noChangeArrowheads="1"/>
          </p:cNvSpPr>
          <p:nvPr/>
        </p:nvSpPr>
        <p:spPr bwMode="auto">
          <a:xfrm>
            <a:off x="166688" y="9596438"/>
            <a:ext cx="800100" cy="260350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lg"/>
          </a:ln>
          <a:effectLst/>
        </p:spPr>
        <p:txBody>
          <a:bodyPr wrap="none" lIns="108021" tIns="54010" rIns="108021" bIns="54010">
            <a:spAutoFit/>
          </a:bodyPr>
          <a:lstStyle/>
          <a:p>
            <a:pPr defTabSz="920750"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de-DE" sz="1000">
                <a:latin typeface="Arial" charset="0"/>
              </a:rPr>
              <a:t>Page </a:t>
            </a:r>
            <a:fld id="{AC8000DA-C9AC-48C6-A995-2287AEDB7BD4}" type="slidenum">
              <a:rPr lang="de-DE" sz="1000">
                <a:latin typeface="Arial" charset="0"/>
              </a:rPr>
              <a:pPr defTabSz="920750" ea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de-DE" sz="1000">
              <a:latin typeface="Arial" charset="0"/>
            </a:endParaRPr>
          </a:p>
        </p:txBody>
      </p:sp>
      <p:sp>
        <p:nvSpPr>
          <p:cNvPr id="5134" name="Line 14"/>
          <p:cNvSpPr>
            <a:spLocks noChangeShapeType="1"/>
          </p:cNvSpPr>
          <p:nvPr/>
        </p:nvSpPr>
        <p:spPr bwMode="auto">
          <a:xfrm>
            <a:off x="301625" y="4586288"/>
            <a:ext cx="62563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none" w="sm" len="lg"/>
          </a:ln>
          <a:effectLst/>
        </p:spPr>
        <p:txBody>
          <a:bodyPr lIns="92016" tIns="46008" rIns="92016" bIns="46008" anchor="b"/>
          <a:lstStyle/>
          <a:p>
            <a:pPr algn="ctr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/>
            </a:pPr>
            <a:endParaRPr lang="ro-RO">
              <a:latin typeface="Arial" charset="0"/>
            </a:endParaRPr>
          </a:p>
        </p:txBody>
      </p:sp>
      <p:sp>
        <p:nvSpPr>
          <p:cNvPr id="5135" name="Line 15"/>
          <p:cNvSpPr>
            <a:spLocks noChangeShapeType="1"/>
          </p:cNvSpPr>
          <p:nvPr/>
        </p:nvSpPr>
        <p:spPr bwMode="auto">
          <a:xfrm>
            <a:off x="298450" y="619125"/>
            <a:ext cx="62563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none" w="sm" len="lg"/>
          </a:ln>
          <a:effectLst/>
        </p:spPr>
        <p:txBody>
          <a:bodyPr lIns="92016" tIns="46008" rIns="92016" bIns="46008" anchor="b"/>
          <a:lstStyle/>
          <a:p>
            <a:pPr algn="ctr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/>
            </a:pPr>
            <a:endParaRPr lang="ro-RO">
              <a:latin typeface="Arial" charset="0"/>
            </a:endParaRPr>
          </a:p>
        </p:txBody>
      </p:sp>
      <p:sp>
        <p:nvSpPr>
          <p:cNvPr id="5136" name="Rectangle 1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09563" y="0"/>
            <a:ext cx="6256337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100000"/>
              </a:lnSpc>
              <a:spcAft>
                <a:spcPct val="0"/>
              </a:spcAft>
              <a:buClrTx/>
              <a:buFontTx/>
              <a:buNone/>
              <a:defRPr b="1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510689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76288" y="762000"/>
            <a:ext cx="5291137" cy="3741738"/>
          </a:xfrm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3925" y="4733925"/>
            <a:ext cx="4995863" cy="4503738"/>
          </a:xfrm>
          <a:noFill/>
          <a:ln/>
        </p:spPr>
        <p:txBody>
          <a:bodyPr/>
          <a:lstStyle/>
          <a:p>
            <a:pPr eaLnBrk="1" hangingPunct="1"/>
            <a:endParaRPr lang="en-GB" dirty="0" smtClean="0">
              <a:latin typeface="Arial" pitchFamily="34" charset="0"/>
            </a:endParaRPr>
          </a:p>
          <a:p>
            <a:pPr eaLnBrk="1" hangingPunct="1"/>
            <a:endParaRPr lang="en-GB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812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0148" y="3780631"/>
            <a:ext cx="9093104" cy="976669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00151" y="4962087"/>
            <a:ext cx="9093103" cy="12549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pic>
        <p:nvPicPr>
          <p:cNvPr id="5" name="Grafik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09" y="0"/>
            <a:ext cx="2988955" cy="1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726" y="1081299"/>
            <a:ext cx="9935951" cy="5398283"/>
          </a:xfrm>
        </p:spPr>
        <p:txBody>
          <a:bodyPr/>
          <a:lstStyle>
            <a:lvl1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2pPr>
            <a:lvl3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3pPr>
            <a:lvl4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3" name="Titel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1" name="Datumsplatzhalter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June 20, 2017</a:t>
            </a:r>
            <a:endParaRPr lang="en-US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Frank Lippert, © Continental AG</a:t>
            </a:r>
            <a:endParaRPr lang="en-US" dirty="0"/>
          </a:p>
        </p:txBody>
      </p:sp>
      <p:sp>
        <p:nvSpPr>
          <p:cNvPr id="8" name="Rechteck 17"/>
          <p:cNvSpPr/>
          <p:nvPr userDrawn="1"/>
        </p:nvSpPr>
        <p:spPr>
          <a:xfrm>
            <a:off x="378725" y="922514"/>
            <a:ext cx="9935600" cy="476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306" tIns="52153" rIns="104306" bIns="52153" rtlCol="0" anchor="ctr"/>
          <a:lstStyle/>
          <a:p>
            <a:pPr algn="ctr"/>
            <a:endParaRPr lang="en-US" sz="1800" noProof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Rechteck 31"/>
          <p:cNvSpPr/>
          <p:nvPr userDrawn="1"/>
        </p:nvSpPr>
        <p:spPr>
          <a:xfrm>
            <a:off x="378725" y="6559357"/>
            <a:ext cx="9935600" cy="476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306" tIns="52153" rIns="104306" bIns="52153" rtlCol="0" anchor="ctr"/>
          <a:lstStyle/>
          <a:p>
            <a:pPr algn="ctr"/>
            <a:endParaRPr lang="en-US" sz="1800" noProof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Rechteck 30"/>
          <p:cNvSpPr/>
          <p:nvPr userDrawn="1"/>
        </p:nvSpPr>
        <p:spPr>
          <a:xfrm>
            <a:off x="378725" y="6605486"/>
            <a:ext cx="9935600" cy="396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306" tIns="52153" rIns="104306" bIns="52153" rtlCol="0" anchor="ctr"/>
          <a:lstStyle/>
          <a:p>
            <a:pPr algn="ctr"/>
            <a:endParaRPr lang="en-US" sz="1800" noProof="0" smtClea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o-R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o-RO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98F86-F3FA-4ECD-930C-98F6136D0A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umsplatzhalter 20"/>
          <p:cNvSpPr>
            <a:spLocks noGrp="1"/>
          </p:cNvSpPr>
          <p:nvPr>
            <p:ph type="dt" sz="half" idx="11"/>
          </p:nvPr>
        </p:nvSpPr>
        <p:spPr>
          <a:xfrm>
            <a:off x="9036859" y="6762266"/>
            <a:ext cx="926200" cy="16586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June 20, 2017</a:t>
            </a:r>
            <a:endParaRPr lang="en-US" dirty="0"/>
          </a:p>
        </p:txBody>
      </p:sp>
      <p:sp>
        <p:nvSpPr>
          <p:cNvPr id="7" name="Fußzeilenplatzhalter 23"/>
          <p:cNvSpPr>
            <a:spLocks noGrp="1"/>
          </p:cNvSpPr>
          <p:nvPr>
            <p:ph type="ftr" sz="quarter" idx="12"/>
          </p:nvPr>
        </p:nvSpPr>
        <p:spPr>
          <a:xfrm>
            <a:off x="8675914" y="6966404"/>
            <a:ext cx="1485391" cy="155571"/>
          </a:xfrm>
        </p:spPr>
        <p:txBody>
          <a:bodyPr/>
          <a:lstStyle/>
          <a:p>
            <a:r>
              <a:rPr lang="en-US" dirty="0" smtClean="0"/>
              <a:t>, Frank Lippert © Continental AG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78726" y="128594"/>
            <a:ext cx="9935950" cy="714528"/>
          </a:xfrm>
          <a:prstGeom prst="rect">
            <a:avLst/>
          </a:prstGeom>
        </p:spPr>
        <p:txBody>
          <a:bodyPr vert="horz" lIns="0" tIns="0" rIns="104306" bIns="0" rtlCol="0" anchor="b" anchorCtr="0">
            <a:norm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8725" y="1081681"/>
            <a:ext cx="9935951" cy="5397903"/>
          </a:xfrm>
          <a:prstGeom prst="rect">
            <a:avLst/>
          </a:prstGeom>
        </p:spPr>
        <p:txBody>
          <a:bodyPr vert="horz" lIns="0" tIns="20533" rIns="0" bIns="20533" rtlCol="0">
            <a:norm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036859" y="6762266"/>
            <a:ext cx="926200" cy="165867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smtClean="0"/>
              <a:t>June 20 2017</a:t>
            </a:r>
            <a:endParaRPr lang="en-US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675914" y="6966404"/>
            <a:ext cx="1485391" cy="155571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Frank Lippert © Continental AG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0248062" y="6758804"/>
            <a:ext cx="252628" cy="165867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Ellipse 3" hidden="1"/>
          <p:cNvSpPr/>
          <p:nvPr>
            <p:custDataLst>
              <p:tags r:id="rId5"/>
            </p:custDataLst>
          </p:nvPr>
        </p:nvSpPr>
        <p:spPr>
          <a:xfrm>
            <a:off x="-1485194" y="-1400234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4306" tIns="52153" rIns="104306" bIns="52153" rtlCol="0" anchor="ctr"/>
          <a:lstStyle/>
          <a:p>
            <a:pPr algn="ctr"/>
            <a:endParaRPr lang="de-DE" sz="18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2" name="Bild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6695108"/>
            <a:ext cx="1857375" cy="5700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1043056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202816" indent="-202816" algn="l" defTabSz="1043056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00000"/>
        <a:buFontTx/>
        <a:buBlip>
          <a:blip r:embed="rId7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617504" indent="-210060" algn="l" defTabSz="1043056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bg2">
            <a:lumMod val="75000"/>
          </a:schemeClr>
        </a:buClr>
        <a:buSzPct val="100000"/>
        <a:buFontTx/>
        <a:buBlip>
          <a:blip r:embed="rId7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023137" indent="-202816" algn="l" defTabSz="1043056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00000"/>
        <a:buFontTx/>
        <a:buBlip>
          <a:blip r:embed="rId7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430580" indent="-204628" algn="l" defTabSz="1043056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tx1">
            <a:lumMod val="95000"/>
            <a:lumOff val="5000"/>
          </a:schemeClr>
        </a:buClr>
        <a:buSzPct val="100000"/>
        <a:buFontTx/>
        <a:buBlip>
          <a:blip r:embed="rId7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843457" indent="-202816" algn="l" defTabSz="1043056" rtl="0" eaLnBrk="1" latinLnBrk="0" hangingPunct="1">
        <a:lnSpc>
          <a:spcPct val="100000"/>
        </a:lnSpc>
        <a:spcBef>
          <a:spcPts val="0"/>
        </a:spcBef>
        <a:spcAft>
          <a:spcPts val="1369"/>
        </a:spcAft>
        <a:buClr>
          <a:schemeClr val="accent1"/>
        </a:buClr>
        <a:buSzPct val="100000"/>
        <a:buFontTx/>
        <a:buBlip>
          <a:blip r:embed="rId7"/>
        </a:buBlip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07_WW_FM_I_BS_MKS_Support/cag?subject=Question%20on%20MKS" TargetMode="External"/><Relationship Id="rId2" Type="http://schemas.openxmlformats.org/officeDocument/2006/relationships/hyperlink" Target="mailto:07_WW_FM_I_BS_MKS_Support/ca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ims-bs:7002/im/createissue?type=issue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07_WW_FM_I_BS_MKS_Support/cag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5" descr="IMS_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98900" y="2782888"/>
            <a:ext cx="2562225" cy="216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800151" y="5240369"/>
            <a:ext cx="9093104" cy="976669"/>
          </a:xfrm>
        </p:spPr>
        <p:txBody>
          <a:bodyPr/>
          <a:lstStyle/>
          <a:p>
            <a:r>
              <a:rPr lang="en-US" dirty="0" smtClean="0"/>
              <a:t>Short Introduction to </a:t>
            </a:r>
            <a:br>
              <a:rPr lang="en-US" dirty="0" smtClean="0"/>
            </a:br>
            <a:r>
              <a:rPr lang="en-US" dirty="0" smtClean="0"/>
              <a:t>IMS and ICTM</a:t>
            </a:r>
            <a:endParaRPr lang="de-DE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03" y="1528797"/>
            <a:ext cx="9011954" cy="4938843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SPICE Red Flags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02920" y="1295400"/>
            <a:ext cx="6864380" cy="233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Go to „Queries“, search for „</a:t>
            </a:r>
            <a:r>
              <a:rPr lang="de-DE" dirty="0"/>
              <a:t>ALL_OPEN_ASPICE_RED_FLAG_ISSUES </a:t>
            </a:r>
            <a:r>
              <a:rPr lang="de-DE" dirty="0" smtClean="0"/>
              <a:t>“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9806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767" y="1081088"/>
            <a:ext cx="7411866" cy="5399087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SPICE Query Definitio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94186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6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en-US" smtClean="0"/>
          </a:p>
          <a:p>
            <a:r>
              <a:rPr lang="en-US" smtClean="0"/>
              <a:t>Support Mailbox: 		</a:t>
            </a:r>
            <a:r>
              <a:rPr lang="fr-FR" smtClean="0">
                <a:hlinkClick r:id="rId2"/>
              </a:rPr>
              <a:t>07_WW_FM_I_BS_MKS_Support</a:t>
            </a:r>
            <a:endParaRPr lang="fr-FR" smtClean="0"/>
          </a:p>
          <a:p>
            <a:r>
              <a:rPr lang="en-US" smtClean="0"/>
              <a:t>Support Phone number:	</a:t>
            </a:r>
            <a:r>
              <a:rPr lang="fr-FR" smtClean="0">
                <a:hlinkClick r:id="rId3"/>
              </a:rPr>
              <a:t>+40 (256) 25-2000 </a:t>
            </a:r>
            <a:endParaRPr lang="en-US" smtClean="0">
              <a:hlinkClick r:id="rId3"/>
            </a:endParaRPr>
          </a:p>
          <a:p>
            <a:endParaRPr lang="en-US" dirty="0" smtClean="0"/>
          </a:p>
        </p:txBody>
      </p:sp>
      <p:sp>
        <p:nvSpPr>
          <p:cNvPr id="12595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MS Support </a:t>
            </a:r>
            <a:endParaRPr lang="en-US" dirty="0" smtClean="0"/>
          </a:p>
        </p:txBody>
      </p:sp>
      <p:sp>
        <p:nvSpPr>
          <p:cNvPr id="152" name="Datumsplatzhalter 15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F014D2-4FFD-47A6-91D0-F18701BE2CA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50" name="Fußzeilenplatzhalter 14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 </a:t>
            </a:r>
            <a:r>
              <a:rPr lang="en-US" dirty="0" smtClean="0"/>
              <a:t>© Continental AG</a:t>
            </a:r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831850" y="3803000"/>
            <a:ext cx="8597900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7800" indent="-177800" algn="ctr" defTabSz="996950">
              <a:lnSpc>
                <a:spcPts val="1800"/>
              </a:lnSpc>
              <a:defRPr/>
            </a:pPr>
            <a:r>
              <a:rPr lang="en-US" sz="3200" b="1" kern="0" dirty="0">
                <a:latin typeface="+mn-lt"/>
              </a:rPr>
              <a:t>Thank you for your attention!</a:t>
            </a:r>
          </a:p>
          <a:p>
            <a:pPr marL="177800" indent="-177800" algn="ctr" defTabSz="996950">
              <a:lnSpc>
                <a:spcPts val="1800"/>
              </a:lnSpc>
              <a:defRPr/>
            </a:pPr>
            <a:endParaRPr lang="en-US" sz="3200" b="1" kern="0" dirty="0">
              <a:latin typeface="+mn-lt"/>
            </a:endParaRPr>
          </a:p>
        </p:txBody>
      </p:sp>
      <p:grpSp>
        <p:nvGrpSpPr>
          <p:cNvPr id="2" name="Group 317"/>
          <p:cNvGrpSpPr>
            <a:grpSpLocks/>
          </p:cNvGrpSpPr>
          <p:nvPr/>
        </p:nvGrpSpPr>
        <p:grpSpPr bwMode="auto">
          <a:xfrm>
            <a:off x="3657599" y="4629149"/>
            <a:ext cx="2987675" cy="1495425"/>
            <a:chOff x="3444" y="2275"/>
            <a:chExt cx="2088" cy="1064"/>
          </a:xfrm>
        </p:grpSpPr>
        <p:sp>
          <p:nvSpPr>
            <p:cNvPr id="8" name="Freeform 316"/>
            <p:cNvSpPr>
              <a:spLocks/>
            </p:cNvSpPr>
            <p:nvPr/>
          </p:nvSpPr>
          <p:spPr bwMode="auto">
            <a:xfrm rot="-2606479">
              <a:off x="3829" y="2798"/>
              <a:ext cx="194" cy="416"/>
            </a:xfrm>
            <a:custGeom>
              <a:avLst/>
              <a:gdLst>
                <a:gd name="T0" fmla="*/ 42 w 194"/>
                <a:gd name="T1" fmla="*/ 0 h 416"/>
                <a:gd name="T2" fmla="*/ 42 w 194"/>
                <a:gd name="T3" fmla="*/ 0 h 416"/>
                <a:gd name="T4" fmla="*/ 30 w 194"/>
                <a:gd name="T5" fmla="*/ 36 h 416"/>
                <a:gd name="T6" fmla="*/ 20 w 194"/>
                <a:gd name="T7" fmla="*/ 74 h 416"/>
                <a:gd name="T8" fmla="*/ 10 w 194"/>
                <a:gd name="T9" fmla="*/ 122 h 416"/>
                <a:gd name="T10" fmla="*/ 2 w 194"/>
                <a:gd name="T11" fmla="*/ 174 h 416"/>
                <a:gd name="T12" fmla="*/ 0 w 194"/>
                <a:gd name="T13" fmla="*/ 200 h 416"/>
                <a:gd name="T14" fmla="*/ 0 w 194"/>
                <a:gd name="T15" fmla="*/ 226 h 416"/>
                <a:gd name="T16" fmla="*/ 2 w 194"/>
                <a:gd name="T17" fmla="*/ 252 h 416"/>
                <a:gd name="T18" fmla="*/ 6 w 194"/>
                <a:gd name="T19" fmla="*/ 276 h 416"/>
                <a:gd name="T20" fmla="*/ 14 w 194"/>
                <a:gd name="T21" fmla="*/ 298 h 416"/>
                <a:gd name="T22" fmla="*/ 22 w 194"/>
                <a:gd name="T23" fmla="*/ 316 h 416"/>
                <a:gd name="T24" fmla="*/ 22 w 194"/>
                <a:gd name="T25" fmla="*/ 316 h 416"/>
                <a:gd name="T26" fmla="*/ 44 w 194"/>
                <a:gd name="T27" fmla="*/ 348 h 416"/>
                <a:gd name="T28" fmla="*/ 66 w 194"/>
                <a:gd name="T29" fmla="*/ 372 h 416"/>
                <a:gd name="T30" fmla="*/ 84 w 194"/>
                <a:gd name="T31" fmla="*/ 390 h 416"/>
                <a:gd name="T32" fmla="*/ 100 w 194"/>
                <a:gd name="T33" fmla="*/ 402 h 416"/>
                <a:gd name="T34" fmla="*/ 114 w 194"/>
                <a:gd name="T35" fmla="*/ 410 h 416"/>
                <a:gd name="T36" fmla="*/ 124 w 194"/>
                <a:gd name="T37" fmla="*/ 414 h 416"/>
                <a:gd name="T38" fmla="*/ 134 w 194"/>
                <a:gd name="T39" fmla="*/ 416 h 416"/>
                <a:gd name="T40" fmla="*/ 168 w 194"/>
                <a:gd name="T41" fmla="*/ 342 h 416"/>
                <a:gd name="T42" fmla="*/ 168 w 194"/>
                <a:gd name="T43" fmla="*/ 342 h 416"/>
                <a:gd name="T44" fmla="*/ 152 w 194"/>
                <a:gd name="T45" fmla="*/ 342 h 416"/>
                <a:gd name="T46" fmla="*/ 136 w 194"/>
                <a:gd name="T47" fmla="*/ 340 h 416"/>
                <a:gd name="T48" fmla="*/ 116 w 194"/>
                <a:gd name="T49" fmla="*/ 334 h 416"/>
                <a:gd name="T50" fmla="*/ 108 w 194"/>
                <a:gd name="T51" fmla="*/ 330 h 416"/>
                <a:gd name="T52" fmla="*/ 100 w 194"/>
                <a:gd name="T53" fmla="*/ 324 h 416"/>
                <a:gd name="T54" fmla="*/ 92 w 194"/>
                <a:gd name="T55" fmla="*/ 318 h 416"/>
                <a:gd name="T56" fmla="*/ 86 w 194"/>
                <a:gd name="T57" fmla="*/ 310 h 416"/>
                <a:gd name="T58" fmla="*/ 80 w 194"/>
                <a:gd name="T59" fmla="*/ 302 h 416"/>
                <a:gd name="T60" fmla="*/ 78 w 194"/>
                <a:gd name="T61" fmla="*/ 290 h 416"/>
                <a:gd name="T62" fmla="*/ 78 w 194"/>
                <a:gd name="T63" fmla="*/ 278 h 416"/>
                <a:gd name="T64" fmla="*/ 80 w 194"/>
                <a:gd name="T65" fmla="*/ 262 h 416"/>
                <a:gd name="T66" fmla="*/ 80 w 194"/>
                <a:gd name="T67" fmla="*/ 262 h 416"/>
                <a:gd name="T68" fmla="*/ 90 w 194"/>
                <a:gd name="T69" fmla="*/ 228 h 416"/>
                <a:gd name="T70" fmla="*/ 106 w 194"/>
                <a:gd name="T71" fmla="*/ 188 h 416"/>
                <a:gd name="T72" fmla="*/ 124 w 194"/>
                <a:gd name="T73" fmla="*/ 146 h 416"/>
                <a:gd name="T74" fmla="*/ 144 w 194"/>
                <a:gd name="T75" fmla="*/ 106 h 416"/>
                <a:gd name="T76" fmla="*/ 178 w 194"/>
                <a:gd name="T77" fmla="*/ 40 h 416"/>
                <a:gd name="T78" fmla="*/ 194 w 194"/>
                <a:gd name="T79" fmla="*/ 14 h 416"/>
                <a:gd name="T80" fmla="*/ 42 w 194"/>
                <a:gd name="T81" fmla="*/ 0 h 416"/>
                <a:gd name="T82" fmla="*/ 42 w 194"/>
                <a:gd name="T83" fmla="*/ 0 h 41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4"/>
                <a:gd name="T127" fmla="*/ 0 h 416"/>
                <a:gd name="T128" fmla="*/ 194 w 194"/>
                <a:gd name="T129" fmla="*/ 416 h 41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4" h="416">
                  <a:moveTo>
                    <a:pt x="42" y="0"/>
                  </a:moveTo>
                  <a:lnTo>
                    <a:pt x="42" y="0"/>
                  </a:lnTo>
                  <a:lnTo>
                    <a:pt x="30" y="36"/>
                  </a:lnTo>
                  <a:lnTo>
                    <a:pt x="20" y="74"/>
                  </a:lnTo>
                  <a:lnTo>
                    <a:pt x="10" y="122"/>
                  </a:lnTo>
                  <a:lnTo>
                    <a:pt x="2" y="174"/>
                  </a:lnTo>
                  <a:lnTo>
                    <a:pt x="0" y="200"/>
                  </a:lnTo>
                  <a:lnTo>
                    <a:pt x="0" y="226"/>
                  </a:lnTo>
                  <a:lnTo>
                    <a:pt x="2" y="252"/>
                  </a:lnTo>
                  <a:lnTo>
                    <a:pt x="6" y="276"/>
                  </a:lnTo>
                  <a:lnTo>
                    <a:pt x="14" y="298"/>
                  </a:lnTo>
                  <a:lnTo>
                    <a:pt x="22" y="316"/>
                  </a:lnTo>
                  <a:lnTo>
                    <a:pt x="44" y="348"/>
                  </a:lnTo>
                  <a:lnTo>
                    <a:pt x="66" y="372"/>
                  </a:lnTo>
                  <a:lnTo>
                    <a:pt x="84" y="390"/>
                  </a:lnTo>
                  <a:lnTo>
                    <a:pt x="100" y="402"/>
                  </a:lnTo>
                  <a:lnTo>
                    <a:pt x="114" y="410"/>
                  </a:lnTo>
                  <a:lnTo>
                    <a:pt x="124" y="414"/>
                  </a:lnTo>
                  <a:lnTo>
                    <a:pt x="134" y="416"/>
                  </a:lnTo>
                  <a:lnTo>
                    <a:pt x="168" y="342"/>
                  </a:lnTo>
                  <a:lnTo>
                    <a:pt x="152" y="342"/>
                  </a:lnTo>
                  <a:lnTo>
                    <a:pt x="136" y="340"/>
                  </a:lnTo>
                  <a:lnTo>
                    <a:pt x="116" y="334"/>
                  </a:lnTo>
                  <a:lnTo>
                    <a:pt x="108" y="330"/>
                  </a:lnTo>
                  <a:lnTo>
                    <a:pt x="100" y="324"/>
                  </a:lnTo>
                  <a:lnTo>
                    <a:pt x="92" y="318"/>
                  </a:lnTo>
                  <a:lnTo>
                    <a:pt x="86" y="310"/>
                  </a:lnTo>
                  <a:lnTo>
                    <a:pt x="80" y="302"/>
                  </a:lnTo>
                  <a:lnTo>
                    <a:pt x="78" y="290"/>
                  </a:lnTo>
                  <a:lnTo>
                    <a:pt x="78" y="278"/>
                  </a:lnTo>
                  <a:lnTo>
                    <a:pt x="80" y="262"/>
                  </a:lnTo>
                  <a:lnTo>
                    <a:pt x="90" y="228"/>
                  </a:lnTo>
                  <a:lnTo>
                    <a:pt x="106" y="188"/>
                  </a:lnTo>
                  <a:lnTo>
                    <a:pt x="124" y="146"/>
                  </a:lnTo>
                  <a:lnTo>
                    <a:pt x="144" y="106"/>
                  </a:lnTo>
                  <a:lnTo>
                    <a:pt x="178" y="40"/>
                  </a:lnTo>
                  <a:lnTo>
                    <a:pt x="194" y="1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180"/>
            <p:cNvSpPr>
              <a:spLocks/>
            </p:cNvSpPr>
            <p:nvPr/>
          </p:nvSpPr>
          <p:spPr bwMode="auto">
            <a:xfrm rot="2606479" flipH="1">
              <a:off x="4926" y="2766"/>
              <a:ext cx="194" cy="416"/>
            </a:xfrm>
            <a:custGeom>
              <a:avLst/>
              <a:gdLst>
                <a:gd name="T0" fmla="*/ 42 w 194"/>
                <a:gd name="T1" fmla="*/ 0 h 416"/>
                <a:gd name="T2" fmla="*/ 42 w 194"/>
                <a:gd name="T3" fmla="*/ 0 h 416"/>
                <a:gd name="T4" fmla="*/ 30 w 194"/>
                <a:gd name="T5" fmla="*/ 36 h 416"/>
                <a:gd name="T6" fmla="*/ 20 w 194"/>
                <a:gd name="T7" fmla="*/ 74 h 416"/>
                <a:gd name="T8" fmla="*/ 10 w 194"/>
                <a:gd name="T9" fmla="*/ 122 h 416"/>
                <a:gd name="T10" fmla="*/ 2 w 194"/>
                <a:gd name="T11" fmla="*/ 174 h 416"/>
                <a:gd name="T12" fmla="*/ 0 w 194"/>
                <a:gd name="T13" fmla="*/ 200 h 416"/>
                <a:gd name="T14" fmla="*/ 0 w 194"/>
                <a:gd name="T15" fmla="*/ 226 h 416"/>
                <a:gd name="T16" fmla="*/ 2 w 194"/>
                <a:gd name="T17" fmla="*/ 252 h 416"/>
                <a:gd name="T18" fmla="*/ 6 w 194"/>
                <a:gd name="T19" fmla="*/ 276 h 416"/>
                <a:gd name="T20" fmla="*/ 14 w 194"/>
                <a:gd name="T21" fmla="*/ 298 h 416"/>
                <a:gd name="T22" fmla="*/ 22 w 194"/>
                <a:gd name="T23" fmla="*/ 316 h 416"/>
                <a:gd name="T24" fmla="*/ 22 w 194"/>
                <a:gd name="T25" fmla="*/ 316 h 416"/>
                <a:gd name="T26" fmla="*/ 44 w 194"/>
                <a:gd name="T27" fmla="*/ 348 h 416"/>
                <a:gd name="T28" fmla="*/ 66 w 194"/>
                <a:gd name="T29" fmla="*/ 372 h 416"/>
                <a:gd name="T30" fmla="*/ 84 w 194"/>
                <a:gd name="T31" fmla="*/ 390 h 416"/>
                <a:gd name="T32" fmla="*/ 100 w 194"/>
                <a:gd name="T33" fmla="*/ 402 h 416"/>
                <a:gd name="T34" fmla="*/ 114 w 194"/>
                <a:gd name="T35" fmla="*/ 410 h 416"/>
                <a:gd name="T36" fmla="*/ 124 w 194"/>
                <a:gd name="T37" fmla="*/ 414 h 416"/>
                <a:gd name="T38" fmla="*/ 134 w 194"/>
                <a:gd name="T39" fmla="*/ 416 h 416"/>
                <a:gd name="T40" fmla="*/ 168 w 194"/>
                <a:gd name="T41" fmla="*/ 342 h 416"/>
                <a:gd name="T42" fmla="*/ 168 w 194"/>
                <a:gd name="T43" fmla="*/ 342 h 416"/>
                <a:gd name="T44" fmla="*/ 152 w 194"/>
                <a:gd name="T45" fmla="*/ 342 h 416"/>
                <a:gd name="T46" fmla="*/ 136 w 194"/>
                <a:gd name="T47" fmla="*/ 340 h 416"/>
                <a:gd name="T48" fmla="*/ 116 w 194"/>
                <a:gd name="T49" fmla="*/ 334 h 416"/>
                <a:gd name="T50" fmla="*/ 108 w 194"/>
                <a:gd name="T51" fmla="*/ 330 h 416"/>
                <a:gd name="T52" fmla="*/ 100 w 194"/>
                <a:gd name="T53" fmla="*/ 324 h 416"/>
                <a:gd name="T54" fmla="*/ 92 w 194"/>
                <a:gd name="T55" fmla="*/ 318 h 416"/>
                <a:gd name="T56" fmla="*/ 86 w 194"/>
                <a:gd name="T57" fmla="*/ 310 h 416"/>
                <a:gd name="T58" fmla="*/ 80 w 194"/>
                <a:gd name="T59" fmla="*/ 302 h 416"/>
                <a:gd name="T60" fmla="*/ 78 w 194"/>
                <a:gd name="T61" fmla="*/ 290 h 416"/>
                <a:gd name="T62" fmla="*/ 78 w 194"/>
                <a:gd name="T63" fmla="*/ 278 h 416"/>
                <a:gd name="T64" fmla="*/ 80 w 194"/>
                <a:gd name="T65" fmla="*/ 262 h 416"/>
                <a:gd name="T66" fmla="*/ 80 w 194"/>
                <a:gd name="T67" fmla="*/ 262 h 416"/>
                <a:gd name="T68" fmla="*/ 90 w 194"/>
                <a:gd name="T69" fmla="*/ 228 h 416"/>
                <a:gd name="T70" fmla="*/ 106 w 194"/>
                <a:gd name="T71" fmla="*/ 188 h 416"/>
                <a:gd name="T72" fmla="*/ 124 w 194"/>
                <a:gd name="T73" fmla="*/ 146 h 416"/>
                <a:gd name="T74" fmla="*/ 144 w 194"/>
                <a:gd name="T75" fmla="*/ 106 h 416"/>
                <a:gd name="T76" fmla="*/ 178 w 194"/>
                <a:gd name="T77" fmla="*/ 40 h 416"/>
                <a:gd name="T78" fmla="*/ 194 w 194"/>
                <a:gd name="T79" fmla="*/ 14 h 416"/>
                <a:gd name="T80" fmla="*/ 42 w 194"/>
                <a:gd name="T81" fmla="*/ 0 h 416"/>
                <a:gd name="T82" fmla="*/ 42 w 194"/>
                <a:gd name="T83" fmla="*/ 0 h 41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4"/>
                <a:gd name="T127" fmla="*/ 0 h 416"/>
                <a:gd name="T128" fmla="*/ 194 w 194"/>
                <a:gd name="T129" fmla="*/ 416 h 41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4" h="416">
                  <a:moveTo>
                    <a:pt x="42" y="0"/>
                  </a:moveTo>
                  <a:lnTo>
                    <a:pt x="42" y="0"/>
                  </a:lnTo>
                  <a:lnTo>
                    <a:pt x="30" y="36"/>
                  </a:lnTo>
                  <a:lnTo>
                    <a:pt x="20" y="74"/>
                  </a:lnTo>
                  <a:lnTo>
                    <a:pt x="10" y="122"/>
                  </a:lnTo>
                  <a:lnTo>
                    <a:pt x="2" y="174"/>
                  </a:lnTo>
                  <a:lnTo>
                    <a:pt x="0" y="200"/>
                  </a:lnTo>
                  <a:lnTo>
                    <a:pt x="0" y="226"/>
                  </a:lnTo>
                  <a:lnTo>
                    <a:pt x="2" y="252"/>
                  </a:lnTo>
                  <a:lnTo>
                    <a:pt x="6" y="276"/>
                  </a:lnTo>
                  <a:lnTo>
                    <a:pt x="14" y="298"/>
                  </a:lnTo>
                  <a:lnTo>
                    <a:pt x="22" y="316"/>
                  </a:lnTo>
                  <a:lnTo>
                    <a:pt x="44" y="348"/>
                  </a:lnTo>
                  <a:lnTo>
                    <a:pt x="66" y="372"/>
                  </a:lnTo>
                  <a:lnTo>
                    <a:pt x="84" y="390"/>
                  </a:lnTo>
                  <a:lnTo>
                    <a:pt x="100" y="402"/>
                  </a:lnTo>
                  <a:lnTo>
                    <a:pt x="114" y="410"/>
                  </a:lnTo>
                  <a:lnTo>
                    <a:pt x="124" y="414"/>
                  </a:lnTo>
                  <a:lnTo>
                    <a:pt x="134" y="416"/>
                  </a:lnTo>
                  <a:lnTo>
                    <a:pt x="168" y="342"/>
                  </a:lnTo>
                  <a:lnTo>
                    <a:pt x="152" y="342"/>
                  </a:lnTo>
                  <a:lnTo>
                    <a:pt x="136" y="340"/>
                  </a:lnTo>
                  <a:lnTo>
                    <a:pt x="116" y="334"/>
                  </a:lnTo>
                  <a:lnTo>
                    <a:pt x="108" y="330"/>
                  </a:lnTo>
                  <a:lnTo>
                    <a:pt x="100" y="324"/>
                  </a:lnTo>
                  <a:lnTo>
                    <a:pt x="92" y="318"/>
                  </a:lnTo>
                  <a:lnTo>
                    <a:pt x="86" y="310"/>
                  </a:lnTo>
                  <a:lnTo>
                    <a:pt x="80" y="302"/>
                  </a:lnTo>
                  <a:lnTo>
                    <a:pt x="78" y="290"/>
                  </a:lnTo>
                  <a:lnTo>
                    <a:pt x="78" y="278"/>
                  </a:lnTo>
                  <a:lnTo>
                    <a:pt x="80" y="262"/>
                  </a:lnTo>
                  <a:lnTo>
                    <a:pt x="90" y="228"/>
                  </a:lnTo>
                  <a:lnTo>
                    <a:pt x="106" y="188"/>
                  </a:lnTo>
                  <a:lnTo>
                    <a:pt x="124" y="146"/>
                  </a:lnTo>
                  <a:lnTo>
                    <a:pt x="144" y="106"/>
                  </a:lnTo>
                  <a:lnTo>
                    <a:pt x="178" y="40"/>
                  </a:lnTo>
                  <a:lnTo>
                    <a:pt x="194" y="1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189"/>
            <p:cNvSpPr>
              <a:spLocks/>
            </p:cNvSpPr>
            <p:nvPr/>
          </p:nvSpPr>
          <p:spPr bwMode="auto">
            <a:xfrm>
              <a:off x="4086" y="2489"/>
              <a:ext cx="814" cy="828"/>
            </a:xfrm>
            <a:custGeom>
              <a:avLst/>
              <a:gdLst>
                <a:gd name="T0" fmla="*/ 406 w 814"/>
                <a:gd name="T1" fmla="*/ 0 h 828"/>
                <a:gd name="T2" fmla="*/ 488 w 814"/>
                <a:gd name="T3" fmla="*/ 8 h 828"/>
                <a:gd name="T4" fmla="*/ 566 w 814"/>
                <a:gd name="T5" fmla="*/ 32 h 828"/>
                <a:gd name="T6" fmla="*/ 634 w 814"/>
                <a:gd name="T7" fmla="*/ 72 h 828"/>
                <a:gd name="T8" fmla="*/ 694 w 814"/>
                <a:gd name="T9" fmla="*/ 122 h 828"/>
                <a:gd name="T10" fmla="*/ 744 w 814"/>
                <a:gd name="T11" fmla="*/ 182 h 828"/>
                <a:gd name="T12" fmla="*/ 782 w 814"/>
                <a:gd name="T13" fmla="*/ 254 h 828"/>
                <a:gd name="T14" fmla="*/ 806 w 814"/>
                <a:gd name="T15" fmla="*/ 330 h 828"/>
                <a:gd name="T16" fmla="*/ 814 w 814"/>
                <a:gd name="T17" fmla="*/ 414 h 828"/>
                <a:gd name="T18" fmla="*/ 812 w 814"/>
                <a:gd name="T19" fmla="*/ 456 h 828"/>
                <a:gd name="T20" fmla="*/ 796 w 814"/>
                <a:gd name="T21" fmla="*/ 536 h 828"/>
                <a:gd name="T22" fmla="*/ 766 w 814"/>
                <a:gd name="T23" fmla="*/ 610 h 828"/>
                <a:gd name="T24" fmla="*/ 722 w 814"/>
                <a:gd name="T25" fmla="*/ 676 h 828"/>
                <a:gd name="T26" fmla="*/ 666 w 814"/>
                <a:gd name="T27" fmla="*/ 732 h 828"/>
                <a:gd name="T28" fmla="*/ 600 w 814"/>
                <a:gd name="T29" fmla="*/ 778 h 828"/>
                <a:gd name="T30" fmla="*/ 528 w 814"/>
                <a:gd name="T31" fmla="*/ 808 h 828"/>
                <a:gd name="T32" fmla="*/ 448 w 814"/>
                <a:gd name="T33" fmla="*/ 826 h 828"/>
                <a:gd name="T34" fmla="*/ 406 w 814"/>
                <a:gd name="T35" fmla="*/ 828 h 828"/>
                <a:gd name="T36" fmla="*/ 324 w 814"/>
                <a:gd name="T37" fmla="*/ 818 h 828"/>
                <a:gd name="T38" fmla="*/ 248 w 814"/>
                <a:gd name="T39" fmla="*/ 794 h 828"/>
                <a:gd name="T40" fmla="*/ 180 w 814"/>
                <a:gd name="T41" fmla="*/ 756 h 828"/>
                <a:gd name="T42" fmla="*/ 118 w 814"/>
                <a:gd name="T43" fmla="*/ 706 h 828"/>
                <a:gd name="T44" fmla="*/ 70 w 814"/>
                <a:gd name="T45" fmla="*/ 644 h 828"/>
                <a:gd name="T46" fmla="*/ 32 w 814"/>
                <a:gd name="T47" fmla="*/ 574 h 828"/>
                <a:gd name="T48" fmla="*/ 8 w 814"/>
                <a:gd name="T49" fmla="*/ 496 h 828"/>
                <a:gd name="T50" fmla="*/ 0 w 814"/>
                <a:gd name="T51" fmla="*/ 414 h 828"/>
                <a:gd name="T52" fmla="*/ 2 w 814"/>
                <a:gd name="T53" fmla="*/ 372 h 828"/>
                <a:gd name="T54" fmla="*/ 18 w 814"/>
                <a:gd name="T55" fmla="*/ 292 h 828"/>
                <a:gd name="T56" fmla="*/ 48 w 814"/>
                <a:gd name="T57" fmla="*/ 216 h 828"/>
                <a:gd name="T58" fmla="*/ 92 w 814"/>
                <a:gd name="T59" fmla="*/ 152 h 828"/>
                <a:gd name="T60" fmla="*/ 148 w 814"/>
                <a:gd name="T61" fmla="*/ 94 h 828"/>
                <a:gd name="T62" fmla="*/ 212 w 814"/>
                <a:gd name="T63" fmla="*/ 50 h 828"/>
                <a:gd name="T64" fmla="*/ 286 w 814"/>
                <a:gd name="T65" fmla="*/ 20 h 828"/>
                <a:gd name="T66" fmla="*/ 366 w 814"/>
                <a:gd name="T67" fmla="*/ 2 h 828"/>
                <a:gd name="T68" fmla="*/ 406 w 814"/>
                <a:gd name="T69" fmla="*/ 0 h 8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14"/>
                <a:gd name="T106" fmla="*/ 0 h 828"/>
                <a:gd name="T107" fmla="*/ 814 w 814"/>
                <a:gd name="T108" fmla="*/ 828 h 8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14" h="828">
                  <a:moveTo>
                    <a:pt x="406" y="0"/>
                  </a:moveTo>
                  <a:lnTo>
                    <a:pt x="406" y="0"/>
                  </a:lnTo>
                  <a:lnTo>
                    <a:pt x="448" y="2"/>
                  </a:lnTo>
                  <a:lnTo>
                    <a:pt x="488" y="8"/>
                  </a:lnTo>
                  <a:lnTo>
                    <a:pt x="528" y="20"/>
                  </a:lnTo>
                  <a:lnTo>
                    <a:pt x="566" y="32"/>
                  </a:lnTo>
                  <a:lnTo>
                    <a:pt x="600" y="50"/>
                  </a:lnTo>
                  <a:lnTo>
                    <a:pt x="634" y="72"/>
                  </a:lnTo>
                  <a:lnTo>
                    <a:pt x="666" y="94"/>
                  </a:lnTo>
                  <a:lnTo>
                    <a:pt x="694" y="122"/>
                  </a:lnTo>
                  <a:lnTo>
                    <a:pt x="722" y="152"/>
                  </a:lnTo>
                  <a:lnTo>
                    <a:pt x="744" y="182"/>
                  </a:lnTo>
                  <a:lnTo>
                    <a:pt x="766" y="216"/>
                  </a:lnTo>
                  <a:lnTo>
                    <a:pt x="782" y="254"/>
                  </a:lnTo>
                  <a:lnTo>
                    <a:pt x="796" y="292"/>
                  </a:lnTo>
                  <a:lnTo>
                    <a:pt x="806" y="330"/>
                  </a:lnTo>
                  <a:lnTo>
                    <a:pt x="812" y="372"/>
                  </a:lnTo>
                  <a:lnTo>
                    <a:pt x="814" y="414"/>
                  </a:lnTo>
                  <a:lnTo>
                    <a:pt x="812" y="456"/>
                  </a:lnTo>
                  <a:lnTo>
                    <a:pt x="806" y="496"/>
                  </a:lnTo>
                  <a:lnTo>
                    <a:pt x="796" y="536"/>
                  </a:lnTo>
                  <a:lnTo>
                    <a:pt x="782" y="574"/>
                  </a:lnTo>
                  <a:lnTo>
                    <a:pt x="766" y="610"/>
                  </a:lnTo>
                  <a:lnTo>
                    <a:pt x="744" y="644"/>
                  </a:lnTo>
                  <a:lnTo>
                    <a:pt x="722" y="676"/>
                  </a:lnTo>
                  <a:lnTo>
                    <a:pt x="694" y="706"/>
                  </a:lnTo>
                  <a:lnTo>
                    <a:pt x="666" y="732"/>
                  </a:lnTo>
                  <a:lnTo>
                    <a:pt x="634" y="756"/>
                  </a:lnTo>
                  <a:lnTo>
                    <a:pt x="600" y="778"/>
                  </a:lnTo>
                  <a:lnTo>
                    <a:pt x="566" y="794"/>
                  </a:lnTo>
                  <a:lnTo>
                    <a:pt x="528" y="808"/>
                  </a:lnTo>
                  <a:lnTo>
                    <a:pt x="488" y="818"/>
                  </a:lnTo>
                  <a:lnTo>
                    <a:pt x="448" y="826"/>
                  </a:lnTo>
                  <a:lnTo>
                    <a:pt x="406" y="828"/>
                  </a:lnTo>
                  <a:lnTo>
                    <a:pt x="366" y="826"/>
                  </a:lnTo>
                  <a:lnTo>
                    <a:pt x="324" y="818"/>
                  </a:lnTo>
                  <a:lnTo>
                    <a:pt x="286" y="808"/>
                  </a:lnTo>
                  <a:lnTo>
                    <a:pt x="248" y="794"/>
                  </a:lnTo>
                  <a:lnTo>
                    <a:pt x="212" y="778"/>
                  </a:lnTo>
                  <a:lnTo>
                    <a:pt x="180" y="756"/>
                  </a:lnTo>
                  <a:lnTo>
                    <a:pt x="148" y="732"/>
                  </a:lnTo>
                  <a:lnTo>
                    <a:pt x="118" y="706"/>
                  </a:lnTo>
                  <a:lnTo>
                    <a:pt x="92" y="676"/>
                  </a:lnTo>
                  <a:lnTo>
                    <a:pt x="70" y="644"/>
                  </a:lnTo>
                  <a:lnTo>
                    <a:pt x="48" y="610"/>
                  </a:lnTo>
                  <a:lnTo>
                    <a:pt x="32" y="574"/>
                  </a:lnTo>
                  <a:lnTo>
                    <a:pt x="18" y="536"/>
                  </a:lnTo>
                  <a:lnTo>
                    <a:pt x="8" y="496"/>
                  </a:lnTo>
                  <a:lnTo>
                    <a:pt x="2" y="456"/>
                  </a:lnTo>
                  <a:lnTo>
                    <a:pt x="0" y="414"/>
                  </a:lnTo>
                  <a:lnTo>
                    <a:pt x="2" y="372"/>
                  </a:lnTo>
                  <a:lnTo>
                    <a:pt x="8" y="330"/>
                  </a:lnTo>
                  <a:lnTo>
                    <a:pt x="18" y="292"/>
                  </a:lnTo>
                  <a:lnTo>
                    <a:pt x="32" y="254"/>
                  </a:lnTo>
                  <a:lnTo>
                    <a:pt x="48" y="216"/>
                  </a:lnTo>
                  <a:lnTo>
                    <a:pt x="70" y="182"/>
                  </a:lnTo>
                  <a:lnTo>
                    <a:pt x="92" y="152"/>
                  </a:lnTo>
                  <a:lnTo>
                    <a:pt x="118" y="122"/>
                  </a:lnTo>
                  <a:lnTo>
                    <a:pt x="148" y="94"/>
                  </a:lnTo>
                  <a:lnTo>
                    <a:pt x="180" y="72"/>
                  </a:lnTo>
                  <a:lnTo>
                    <a:pt x="212" y="50"/>
                  </a:lnTo>
                  <a:lnTo>
                    <a:pt x="248" y="32"/>
                  </a:lnTo>
                  <a:lnTo>
                    <a:pt x="286" y="20"/>
                  </a:lnTo>
                  <a:lnTo>
                    <a:pt x="324" y="8"/>
                  </a:lnTo>
                  <a:lnTo>
                    <a:pt x="366" y="2"/>
                  </a:lnTo>
                  <a:lnTo>
                    <a:pt x="406" y="0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190"/>
            <p:cNvSpPr>
              <a:spLocks/>
            </p:cNvSpPr>
            <p:nvPr/>
          </p:nvSpPr>
          <p:spPr bwMode="auto">
            <a:xfrm>
              <a:off x="4082" y="2487"/>
              <a:ext cx="820" cy="830"/>
            </a:xfrm>
            <a:custGeom>
              <a:avLst/>
              <a:gdLst>
                <a:gd name="T0" fmla="*/ 410 w 820"/>
                <a:gd name="T1" fmla="*/ 0 h 830"/>
                <a:gd name="T2" fmla="*/ 492 w 820"/>
                <a:gd name="T3" fmla="*/ 8 h 830"/>
                <a:gd name="T4" fmla="*/ 568 w 820"/>
                <a:gd name="T5" fmla="*/ 32 h 830"/>
                <a:gd name="T6" fmla="*/ 638 w 820"/>
                <a:gd name="T7" fmla="*/ 70 h 830"/>
                <a:gd name="T8" fmla="*/ 698 w 820"/>
                <a:gd name="T9" fmla="*/ 122 h 830"/>
                <a:gd name="T10" fmla="*/ 750 w 820"/>
                <a:gd name="T11" fmla="*/ 184 h 830"/>
                <a:gd name="T12" fmla="*/ 786 w 820"/>
                <a:gd name="T13" fmla="*/ 254 h 830"/>
                <a:gd name="T14" fmla="*/ 810 w 820"/>
                <a:gd name="T15" fmla="*/ 332 h 830"/>
                <a:gd name="T16" fmla="*/ 820 w 820"/>
                <a:gd name="T17" fmla="*/ 416 h 830"/>
                <a:gd name="T18" fmla="*/ 818 w 820"/>
                <a:gd name="T19" fmla="*/ 458 h 830"/>
                <a:gd name="T20" fmla="*/ 800 w 820"/>
                <a:gd name="T21" fmla="*/ 538 h 830"/>
                <a:gd name="T22" fmla="*/ 770 w 820"/>
                <a:gd name="T23" fmla="*/ 612 h 830"/>
                <a:gd name="T24" fmla="*/ 726 w 820"/>
                <a:gd name="T25" fmla="*/ 680 h 830"/>
                <a:gd name="T26" fmla="*/ 670 w 820"/>
                <a:gd name="T27" fmla="*/ 736 h 830"/>
                <a:gd name="T28" fmla="*/ 604 w 820"/>
                <a:gd name="T29" fmla="*/ 780 h 830"/>
                <a:gd name="T30" fmla="*/ 532 w 820"/>
                <a:gd name="T31" fmla="*/ 812 h 830"/>
                <a:gd name="T32" fmla="*/ 452 w 820"/>
                <a:gd name="T33" fmla="*/ 828 h 830"/>
                <a:gd name="T34" fmla="*/ 410 w 820"/>
                <a:gd name="T35" fmla="*/ 830 h 830"/>
                <a:gd name="T36" fmla="*/ 328 w 820"/>
                <a:gd name="T37" fmla="*/ 822 h 830"/>
                <a:gd name="T38" fmla="*/ 250 w 820"/>
                <a:gd name="T39" fmla="*/ 798 h 830"/>
                <a:gd name="T40" fmla="*/ 180 w 820"/>
                <a:gd name="T41" fmla="*/ 760 h 830"/>
                <a:gd name="T42" fmla="*/ 120 w 820"/>
                <a:gd name="T43" fmla="*/ 708 h 830"/>
                <a:gd name="T44" fmla="*/ 70 w 820"/>
                <a:gd name="T45" fmla="*/ 648 h 830"/>
                <a:gd name="T46" fmla="*/ 32 w 820"/>
                <a:gd name="T47" fmla="*/ 576 h 830"/>
                <a:gd name="T48" fmla="*/ 8 w 820"/>
                <a:gd name="T49" fmla="*/ 498 h 830"/>
                <a:gd name="T50" fmla="*/ 0 w 820"/>
                <a:gd name="T51" fmla="*/ 416 h 830"/>
                <a:gd name="T52" fmla="*/ 2 w 820"/>
                <a:gd name="T53" fmla="*/ 372 h 830"/>
                <a:gd name="T54" fmla="*/ 18 w 820"/>
                <a:gd name="T55" fmla="*/ 292 h 830"/>
                <a:gd name="T56" fmla="*/ 50 w 820"/>
                <a:gd name="T57" fmla="*/ 218 h 830"/>
                <a:gd name="T58" fmla="*/ 94 w 820"/>
                <a:gd name="T59" fmla="*/ 152 h 830"/>
                <a:gd name="T60" fmla="*/ 150 w 820"/>
                <a:gd name="T61" fmla="*/ 94 h 830"/>
                <a:gd name="T62" fmla="*/ 214 w 820"/>
                <a:gd name="T63" fmla="*/ 50 h 830"/>
                <a:gd name="T64" fmla="*/ 288 w 820"/>
                <a:gd name="T65" fmla="*/ 18 h 830"/>
                <a:gd name="T66" fmla="*/ 368 w 820"/>
                <a:gd name="T67" fmla="*/ 2 h 830"/>
                <a:gd name="T68" fmla="*/ 410 w 820"/>
                <a:gd name="T69" fmla="*/ 0 h 83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0"/>
                <a:gd name="T106" fmla="*/ 0 h 830"/>
                <a:gd name="T107" fmla="*/ 820 w 820"/>
                <a:gd name="T108" fmla="*/ 830 h 83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0" h="830">
                  <a:moveTo>
                    <a:pt x="410" y="0"/>
                  </a:moveTo>
                  <a:lnTo>
                    <a:pt x="410" y="0"/>
                  </a:lnTo>
                  <a:lnTo>
                    <a:pt x="452" y="2"/>
                  </a:lnTo>
                  <a:lnTo>
                    <a:pt x="492" y="8"/>
                  </a:lnTo>
                  <a:lnTo>
                    <a:pt x="532" y="18"/>
                  </a:lnTo>
                  <a:lnTo>
                    <a:pt x="568" y="32"/>
                  </a:lnTo>
                  <a:lnTo>
                    <a:pt x="604" y="50"/>
                  </a:lnTo>
                  <a:lnTo>
                    <a:pt x="638" y="70"/>
                  </a:lnTo>
                  <a:lnTo>
                    <a:pt x="670" y="94"/>
                  </a:lnTo>
                  <a:lnTo>
                    <a:pt x="698" y="122"/>
                  </a:lnTo>
                  <a:lnTo>
                    <a:pt x="726" y="152"/>
                  </a:lnTo>
                  <a:lnTo>
                    <a:pt x="750" y="184"/>
                  </a:lnTo>
                  <a:lnTo>
                    <a:pt x="770" y="218"/>
                  </a:lnTo>
                  <a:lnTo>
                    <a:pt x="786" y="254"/>
                  </a:lnTo>
                  <a:lnTo>
                    <a:pt x="800" y="292"/>
                  </a:lnTo>
                  <a:lnTo>
                    <a:pt x="810" y="332"/>
                  </a:lnTo>
                  <a:lnTo>
                    <a:pt x="818" y="372"/>
                  </a:lnTo>
                  <a:lnTo>
                    <a:pt x="820" y="416"/>
                  </a:lnTo>
                  <a:lnTo>
                    <a:pt x="818" y="458"/>
                  </a:lnTo>
                  <a:lnTo>
                    <a:pt x="810" y="498"/>
                  </a:lnTo>
                  <a:lnTo>
                    <a:pt x="800" y="538"/>
                  </a:lnTo>
                  <a:lnTo>
                    <a:pt x="786" y="576"/>
                  </a:lnTo>
                  <a:lnTo>
                    <a:pt x="770" y="612"/>
                  </a:lnTo>
                  <a:lnTo>
                    <a:pt x="750" y="648"/>
                  </a:lnTo>
                  <a:lnTo>
                    <a:pt x="726" y="680"/>
                  </a:lnTo>
                  <a:lnTo>
                    <a:pt x="698" y="708"/>
                  </a:lnTo>
                  <a:lnTo>
                    <a:pt x="670" y="736"/>
                  </a:lnTo>
                  <a:lnTo>
                    <a:pt x="638" y="760"/>
                  </a:lnTo>
                  <a:lnTo>
                    <a:pt x="604" y="780"/>
                  </a:lnTo>
                  <a:lnTo>
                    <a:pt x="568" y="798"/>
                  </a:lnTo>
                  <a:lnTo>
                    <a:pt x="532" y="812"/>
                  </a:lnTo>
                  <a:lnTo>
                    <a:pt x="492" y="822"/>
                  </a:lnTo>
                  <a:lnTo>
                    <a:pt x="452" y="828"/>
                  </a:lnTo>
                  <a:lnTo>
                    <a:pt x="410" y="830"/>
                  </a:lnTo>
                  <a:lnTo>
                    <a:pt x="368" y="828"/>
                  </a:lnTo>
                  <a:lnTo>
                    <a:pt x="328" y="822"/>
                  </a:lnTo>
                  <a:lnTo>
                    <a:pt x="288" y="812"/>
                  </a:lnTo>
                  <a:lnTo>
                    <a:pt x="250" y="798"/>
                  </a:lnTo>
                  <a:lnTo>
                    <a:pt x="214" y="780"/>
                  </a:lnTo>
                  <a:lnTo>
                    <a:pt x="180" y="760"/>
                  </a:lnTo>
                  <a:lnTo>
                    <a:pt x="150" y="736"/>
                  </a:lnTo>
                  <a:lnTo>
                    <a:pt x="120" y="708"/>
                  </a:lnTo>
                  <a:lnTo>
                    <a:pt x="94" y="680"/>
                  </a:lnTo>
                  <a:lnTo>
                    <a:pt x="70" y="648"/>
                  </a:lnTo>
                  <a:lnTo>
                    <a:pt x="50" y="612"/>
                  </a:lnTo>
                  <a:lnTo>
                    <a:pt x="32" y="576"/>
                  </a:lnTo>
                  <a:lnTo>
                    <a:pt x="18" y="538"/>
                  </a:lnTo>
                  <a:lnTo>
                    <a:pt x="8" y="498"/>
                  </a:lnTo>
                  <a:lnTo>
                    <a:pt x="2" y="458"/>
                  </a:lnTo>
                  <a:lnTo>
                    <a:pt x="0" y="416"/>
                  </a:lnTo>
                  <a:lnTo>
                    <a:pt x="2" y="372"/>
                  </a:lnTo>
                  <a:lnTo>
                    <a:pt x="8" y="332"/>
                  </a:lnTo>
                  <a:lnTo>
                    <a:pt x="18" y="292"/>
                  </a:lnTo>
                  <a:lnTo>
                    <a:pt x="32" y="254"/>
                  </a:lnTo>
                  <a:lnTo>
                    <a:pt x="50" y="218"/>
                  </a:lnTo>
                  <a:lnTo>
                    <a:pt x="70" y="184"/>
                  </a:lnTo>
                  <a:lnTo>
                    <a:pt x="94" y="152"/>
                  </a:lnTo>
                  <a:lnTo>
                    <a:pt x="120" y="122"/>
                  </a:lnTo>
                  <a:lnTo>
                    <a:pt x="150" y="94"/>
                  </a:lnTo>
                  <a:lnTo>
                    <a:pt x="180" y="70"/>
                  </a:lnTo>
                  <a:lnTo>
                    <a:pt x="214" y="50"/>
                  </a:lnTo>
                  <a:lnTo>
                    <a:pt x="250" y="32"/>
                  </a:lnTo>
                  <a:lnTo>
                    <a:pt x="288" y="18"/>
                  </a:lnTo>
                  <a:lnTo>
                    <a:pt x="328" y="8"/>
                  </a:lnTo>
                  <a:lnTo>
                    <a:pt x="368" y="2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FFF7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191"/>
            <p:cNvSpPr>
              <a:spLocks/>
            </p:cNvSpPr>
            <p:nvPr/>
          </p:nvSpPr>
          <p:spPr bwMode="auto">
            <a:xfrm>
              <a:off x="4078" y="2483"/>
              <a:ext cx="824" cy="836"/>
            </a:xfrm>
            <a:custGeom>
              <a:avLst/>
              <a:gdLst>
                <a:gd name="T0" fmla="*/ 412 w 824"/>
                <a:gd name="T1" fmla="*/ 0 h 836"/>
                <a:gd name="T2" fmla="*/ 496 w 824"/>
                <a:gd name="T3" fmla="*/ 10 h 836"/>
                <a:gd name="T4" fmla="*/ 572 w 824"/>
                <a:gd name="T5" fmla="*/ 34 h 836"/>
                <a:gd name="T6" fmla="*/ 642 w 824"/>
                <a:gd name="T7" fmla="*/ 72 h 836"/>
                <a:gd name="T8" fmla="*/ 704 w 824"/>
                <a:gd name="T9" fmla="*/ 124 h 836"/>
                <a:gd name="T10" fmla="*/ 754 w 824"/>
                <a:gd name="T11" fmla="*/ 186 h 836"/>
                <a:gd name="T12" fmla="*/ 792 w 824"/>
                <a:gd name="T13" fmla="*/ 256 h 836"/>
                <a:gd name="T14" fmla="*/ 816 w 824"/>
                <a:gd name="T15" fmla="*/ 334 h 836"/>
                <a:gd name="T16" fmla="*/ 824 w 824"/>
                <a:gd name="T17" fmla="*/ 418 h 836"/>
                <a:gd name="T18" fmla="*/ 822 w 824"/>
                <a:gd name="T19" fmla="*/ 462 h 836"/>
                <a:gd name="T20" fmla="*/ 806 w 824"/>
                <a:gd name="T21" fmla="*/ 542 h 836"/>
                <a:gd name="T22" fmla="*/ 774 w 824"/>
                <a:gd name="T23" fmla="*/ 618 h 836"/>
                <a:gd name="T24" fmla="*/ 730 w 824"/>
                <a:gd name="T25" fmla="*/ 684 h 836"/>
                <a:gd name="T26" fmla="*/ 674 w 824"/>
                <a:gd name="T27" fmla="*/ 740 h 836"/>
                <a:gd name="T28" fmla="*/ 608 w 824"/>
                <a:gd name="T29" fmla="*/ 786 h 836"/>
                <a:gd name="T30" fmla="*/ 534 w 824"/>
                <a:gd name="T31" fmla="*/ 818 h 836"/>
                <a:gd name="T32" fmla="*/ 454 w 824"/>
                <a:gd name="T33" fmla="*/ 834 h 836"/>
                <a:gd name="T34" fmla="*/ 412 w 824"/>
                <a:gd name="T35" fmla="*/ 836 h 836"/>
                <a:gd name="T36" fmla="*/ 330 w 824"/>
                <a:gd name="T37" fmla="*/ 828 h 836"/>
                <a:gd name="T38" fmla="*/ 252 w 824"/>
                <a:gd name="T39" fmla="*/ 804 h 836"/>
                <a:gd name="T40" fmla="*/ 182 w 824"/>
                <a:gd name="T41" fmla="*/ 764 h 836"/>
                <a:gd name="T42" fmla="*/ 122 w 824"/>
                <a:gd name="T43" fmla="*/ 714 h 836"/>
                <a:gd name="T44" fmla="*/ 72 w 824"/>
                <a:gd name="T45" fmla="*/ 652 h 836"/>
                <a:gd name="T46" fmla="*/ 34 w 824"/>
                <a:gd name="T47" fmla="*/ 580 h 836"/>
                <a:gd name="T48" fmla="*/ 10 w 824"/>
                <a:gd name="T49" fmla="*/ 502 h 836"/>
                <a:gd name="T50" fmla="*/ 0 w 824"/>
                <a:gd name="T51" fmla="*/ 418 h 836"/>
                <a:gd name="T52" fmla="*/ 2 w 824"/>
                <a:gd name="T53" fmla="*/ 376 h 836"/>
                <a:gd name="T54" fmla="*/ 20 w 824"/>
                <a:gd name="T55" fmla="*/ 294 h 836"/>
                <a:gd name="T56" fmla="*/ 50 w 824"/>
                <a:gd name="T57" fmla="*/ 220 h 836"/>
                <a:gd name="T58" fmla="*/ 94 w 824"/>
                <a:gd name="T59" fmla="*/ 154 h 836"/>
                <a:gd name="T60" fmla="*/ 150 w 824"/>
                <a:gd name="T61" fmla="*/ 96 h 836"/>
                <a:gd name="T62" fmla="*/ 216 w 824"/>
                <a:gd name="T63" fmla="*/ 52 h 836"/>
                <a:gd name="T64" fmla="*/ 290 w 824"/>
                <a:gd name="T65" fmla="*/ 20 h 836"/>
                <a:gd name="T66" fmla="*/ 370 w 824"/>
                <a:gd name="T67" fmla="*/ 2 h 836"/>
                <a:gd name="T68" fmla="*/ 412 w 824"/>
                <a:gd name="T69" fmla="*/ 0 h 8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4"/>
                <a:gd name="T106" fmla="*/ 0 h 836"/>
                <a:gd name="T107" fmla="*/ 824 w 824"/>
                <a:gd name="T108" fmla="*/ 836 h 8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4" h="836">
                  <a:moveTo>
                    <a:pt x="412" y="0"/>
                  </a:moveTo>
                  <a:lnTo>
                    <a:pt x="412" y="0"/>
                  </a:lnTo>
                  <a:lnTo>
                    <a:pt x="454" y="2"/>
                  </a:lnTo>
                  <a:lnTo>
                    <a:pt x="496" y="10"/>
                  </a:lnTo>
                  <a:lnTo>
                    <a:pt x="534" y="20"/>
                  </a:lnTo>
                  <a:lnTo>
                    <a:pt x="572" y="34"/>
                  </a:lnTo>
                  <a:lnTo>
                    <a:pt x="608" y="52"/>
                  </a:lnTo>
                  <a:lnTo>
                    <a:pt x="642" y="72"/>
                  </a:lnTo>
                  <a:lnTo>
                    <a:pt x="674" y="96"/>
                  </a:lnTo>
                  <a:lnTo>
                    <a:pt x="704" y="124"/>
                  </a:lnTo>
                  <a:lnTo>
                    <a:pt x="730" y="154"/>
                  </a:lnTo>
                  <a:lnTo>
                    <a:pt x="754" y="186"/>
                  </a:lnTo>
                  <a:lnTo>
                    <a:pt x="774" y="220"/>
                  </a:lnTo>
                  <a:lnTo>
                    <a:pt x="792" y="256"/>
                  </a:lnTo>
                  <a:lnTo>
                    <a:pt x="806" y="294"/>
                  </a:lnTo>
                  <a:lnTo>
                    <a:pt x="816" y="334"/>
                  </a:lnTo>
                  <a:lnTo>
                    <a:pt x="822" y="376"/>
                  </a:lnTo>
                  <a:lnTo>
                    <a:pt x="824" y="418"/>
                  </a:lnTo>
                  <a:lnTo>
                    <a:pt x="822" y="462"/>
                  </a:lnTo>
                  <a:lnTo>
                    <a:pt x="816" y="502"/>
                  </a:lnTo>
                  <a:lnTo>
                    <a:pt x="806" y="542"/>
                  </a:lnTo>
                  <a:lnTo>
                    <a:pt x="792" y="580"/>
                  </a:lnTo>
                  <a:lnTo>
                    <a:pt x="774" y="618"/>
                  </a:lnTo>
                  <a:lnTo>
                    <a:pt x="754" y="652"/>
                  </a:lnTo>
                  <a:lnTo>
                    <a:pt x="730" y="684"/>
                  </a:lnTo>
                  <a:lnTo>
                    <a:pt x="704" y="714"/>
                  </a:lnTo>
                  <a:lnTo>
                    <a:pt x="674" y="740"/>
                  </a:lnTo>
                  <a:lnTo>
                    <a:pt x="642" y="764"/>
                  </a:lnTo>
                  <a:lnTo>
                    <a:pt x="608" y="786"/>
                  </a:lnTo>
                  <a:lnTo>
                    <a:pt x="572" y="804"/>
                  </a:lnTo>
                  <a:lnTo>
                    <a:pt x="534" y="818"/>
                  </a:lnTo>
                  <a:lnTo>
                    <a:pt x="496" y="828"/>
                  </a:lnTo>
                  <a:lnTo>
                    <a:pt x="454" y="834"/>
                  </a:lnTo>
                  <a:lnTo>
                    <a:pt x="412" y="836"/>
                  </a:lnTo>
                  <a:lnTo>
                    <a:pt x="370" y="834"/>
                  </a:lnTo>
                  <a:lnTo>
                    <a:pt x="330" y="828"/>
                  </a:lnTo>
                  <a:lnTo>
                    <a:pt x="290" y="818"/>
                  </a:lnTo>
                  <a:lnTo>
                    <a:pt x="252" y="804"/>
                  </a:lnTo>
                  <a:lnTo>
                    <a:pt x="216" y="786"/>
                  </a:lnTo>
                  <a:lnTo>
                    <a:pt x="182" y="764"/>
                  </a:lnTo>
                  <a:lnTo>
                    <a:pt x="150" y="740"/>
                  </a:lnTo>
                  <a:lnTo>
                    <a:pt x="122" y="714"/>
                  </a:lnTo>
                  <a:lnTo>
                    <a:pt x="94" y="684"/>
                  </a:lnTo>
                  <a:lnTo>
                    <a:pt x="72" y="652"/>
                  </a:lnTo>
                  <a:lnTo>
                    <a:pt x="50" y="618"/>
                  </a:lnTo>
                  <a:lnTo>
                    <a:pt x="34" y="580"/>
                  </a:lnTo>
                  <a:lnTo>
                    <a:pt x="20" y="542"/>
                  </a:lnTo>
                  <a:lnTo>
                    <a:pt x="10" y="502"/>
                  </a:lnTo>
                  <a:lnTo>
                    <a:pt x="2" y="462"/>
                  </a:lnTo>
                  <a:lnTo>
                    <a:pt x="0" y="418"/>
                  </a:lnTo>
                  <a:lnTo>
                    <a:pt x="2" y="376"/>
                  </a:lnTo>
                  <a:lnTo>
                    <a:pt x="10" y="334"/>
                  </a:lnTo>
                  <a:lnTo>
                    <a:pt x="20" y="294"/>
                  </a:lnTo>
                  <a:lnTo>
                    <a:pt x="34" y="256"/>
                  </a:lnTo>
                  <a:lnTo>
                    <a:pt x="50" y="220"/>
                  </a:lnTo>
                  <a:lnTo>
                    <a:pt x="72" y="186"/>
                  </a:lnTo>
                  <a:lnTo>
                    <a:pt x="94" y="154"/>
                  </a:lnTo>
                  <a:lnTo>
                    <a:pt x="122" y="124"/>
                  </a:lnTo>
                  <a:lnTo>
                    <a:pt x="150" y="96"/>
                  </a:lnTo>
                  <a:lnTo>
                    <a:pt x="182" y="72"/>
                  </a:lnTo>
                  <a:lnTo>
                    <a:pt x="216" y="52"/>
                  </a:lnTo>
                  <a:lnTo>
                    <a:pt x="252" y="34"/>
                  </a:lnTo>
                  <a:lnTo>
                    <a:pt x="290" y="20"/>
                  </a:lnTo>
                  <a:lnTo>
                    <a:pt x="330" y="10"/>
                  </a:lnTo>
                  <a:lnTo>
                    <a:pt x="370" y="2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FFF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eform 192"/>
            <p:cNvSpPr>
              <a:spLocks/>
            </p:cNvSpPr>
            <p:nvPr/>
          </p:nvSpPr>
          <p:spPr bwMode="auto">
            <a:xfrm>
              <a:off x="4076" y="2481"/>
              <a:ext cx="826" cy="840"/>
            </a:xfrm>
            <a:custGeom>
              <a:avLst/>
              <a:gdLst>
                <a:gd name="T0" fmla="*/ 414 w 826"/>
                <a:gd name="T1" fmla="*/ 0 h 840"/>
                <a:gd name="T2" fmla="*/ 496 w 826"/>
                <a:gd name="T3" fmla="*/ 8 h 840"/>
                <a:gd name="T4" fmla="*/ 574 w 826"/>
                <a:gd name="T5" fmla="*/ 34 h 840"/>
                <a:gd name="T6" fmla="*/ 644 w 826"/>
                <a:gd name="T7" fmla="*/ 72 h 840"/>
                <a:gd name="T8" fmla="*/ 706 w 826"/>
                <a:gd name="T9" fmla="*/ 124 h 840"/>
                <a:gd name="T10" fmla="*/ 756 w 826"/>
                <a:gd name="T11" fmla="*/ 186 h 840"/>
                <a:gd name="T12" fmla="*/ 794 w 826"/>
                <a:gd name="T13" fmla="*/ 256 h 840"/>
                <a:gd name="T14" fmla="*/ 818 w 826"/>
                <a:gd name="T15" fmla="*/ 336 h 840"/>
                <a:gd name="T16" fmla="*/ 826 w 826"/>
                <a:gd name="T17" fmla="*/ 420 h 840"/>
                <a:gd name="T18" fmla="*/ 824 w 826"/>
                <a:gd name="T19" fmla="*/ 462 h 840"/>
                <a:gd name="T20" fmla="*/ 808 w 826"/>
                <a:gd name="T21" fmla="*/ 544 h 840"/>
                <a:gd name="T22" fmla="*/ 776 w 826"/>
                <a:gd name="T23" fmla="*/ 620 h 840"/>
                <a:gd name="T24" fmla="*/ 732 w 826"/>
                <a:gd name="T25" fmla="*/ 686 h 840"/>
                <a:gd name="T26" fmla="*/ 676 w 826"/>
                <a:gd name="T27" fmla="*/ 744 h 840"/>
                <a:gd name="T28" fmla="*/ 610 w 826"/>
                <a:gd name="T29" fmla="*/ 788 h 840"/>
                <a:gd name="T30" fmla="*/ 536 w 826"/>
                <a:gd name="T31" fmla="*/ 820 h 840"/>
                <a:gd name="T32" fmla="*/ 456 w 826"/>
                <a:gd name="T33" fmla="*/ 838 h 840"/>
                <a:gd name="T34" fmla="*/ 414 w 826"/>
                <a:gd name="T35" fmla="*/ 840 h 840"/>
                <a:gd name="T36" fmla="*/ 330 w 826"/>
                <a:gd name="T37" fmla="*/ 830 h 840"/>
                <a:gd name="T38" fmla="*/ 252 w 826"/>
                <a:gd name="T39" fmla="*/ 806 h 840"/>
                <a:gd name="T40" fmla="*/ 182 w 826"/>
                <a:gd name="T41" fmla="*/ 768 h 840"/>
                <a:gd name="T42" fmla="*/ 120 w 826"/>
                <a:gd name="T43" fmla="*/ 716 h 840"/>
                <a:gd name="T44" fmla="*/ 70 w 826"/>
                <a:gd name="T45" fmla="*/ 654 h 840"/>
                <a:gd name="T46" fmla="*/ 32 w 826"/>
                <a:gd name="T47" fmla="*/ 582 h 840"/>
                <a:gd name="T48" fmla="*/ 8 w 826"/>
                <a:gd name="T49" fmla="*/ 504 h 840"/>
                <a:gd name="T50" fmla="*/ 0 w 826"/>
                <a:gd name="T51" fmla="*/ 420 h 840"/>
                <a:gd name="T52" fmla="*/ 2 w 826"/>
                <a:gd name="T53" fmla="*/ 376 h 840"/>
                <a:gd name="T54" fmla="*/ 18 w 826"/>
                <a:gd name="T55" fmla="*/ 296 h 840"/>
                <a:gd name="T56" fmla="*/ 50 w 826"/>
                <a:gd name="T57" fmla="*/ 220 h 840"/>
                <a:gd name="T58" fmla="*/ 94 w 826"/>
                <a:gd name="T59" fmla="*/ 154 h 840"/>
                <a:gd name="T60" fmla="*/ 150 w 826"/>
                <a:gd name="T61" fmla="*/ 96 h 840"/>
                <a:gd name="T62" fmla="*/ 216 w 826"/>
                <a:gd name="T63" fmla="*/ 50 h 840"/>
                <a:gd name="T64" fmla="*/ 290 w 826"/>
                <a:gd name="T65" fmla="*/ 18 h 840"/>
                <a:gd name="T66" fmla="*/ 370 w 826"/>
                <a:gd name="T67" fmla="*/ 2 h 840"/>
                <a:gd name="T68" fmla="*/ 414 w 826"/>
                <a:gd name="T69" fmla="*/ 0 h 8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6"/>
                <a:gd name="T106" fmla="*/ 0 h 840"/>
                <a:gd name="T107" fmla="*/ 826 w 826"/>
                <a:gd name="T108" fmla="*/ 840 h 8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6" h="840">
                  <a:moveTo>
                    <a:pt x="414" y="0"/>
                  </a:moveTo>
                  <a:lnTo>
                    <a:pt x="414" y="0"/>
                  </a:lnTo>
                  <a:lnTo>
                    <a:pt x="456" y="2"/>
                  </a:lnTo>
                  <a:lnTo>
                    <a:pt x="496" y="8"/>
                  </a:lnTo>
                  <a:lnTo>
                    <a:pt x="536" y="18"/>
                  </a:lnTo>
                  <a:lnTo>
                    <a:pt x="574" y="34"/>
                  </a:lnTo>
                  <a:lnTo>
                    <a:pt x="610" y="50"/>
                  </a:lnTo>
                  <a:lnTo>
                    <a:pt x="644" y="72"/>
                  </a:lnTo>
                  <a:lnTo>
                    <a:pt x="676" y="96"/>
                  </a:lnTo>
                  <a:lnTo>
                    <a:pt x="706" y="124"/>
                  </a:lnTo>
                  <a:lnTo>
                    <a:pt x="732" y="154"/>
                  </a:lnTo>
                  <a:lnTo>
                    <a:pt x="756" y="186"/>
                  </a:lnTo>
                  <a:lnTo>
                    <a:pt x="776" y="220"/>
                  </a:lnTo>
                  <a:lnTo>
                    <a:pt x="794" y="256"/>
                  </a:lnTo>
                  <a:lnTo>
                    <a:pt x="808" y="296"/>
                  </a:lnTo>
                  <a:lnTo>
                    <a:pt x="818" y="336"/>
                  </a:lnTo>
                  <a:lnTo>
                    <a:pt x="824" y="376"/>
                  </a:lnTo>
                  <a:lnTo>
                    <a:pt x="826" y="420"/>
                  </a:lnTo>
                  <a:lnTo>
                    <a:pt x="824" y="462"/>
                  </a:lnTo>
                  <a:lnTo>
                    <a:pt x="818" y="504"/>
                  </a:lnTo>
                  <a:lnTo>
                    <a:pt x="808" y="544"/>
                  </a:lnTo>
                  <a:lnTo>
                    <a:pt x="794" y="582"/>
                  </a:lnTo>
                  <a:lnTo>
                    <a:pt x="776" y="620"/>
                  </a:lnTo>
                  <a:lnTo>
                    <a:pt x="756" y="654"/>
                  </a:lnTo>
                  <a:lnTo>
                    <a:pt x="732" y="686"/>
                  </a:lnTo>
                  <a:lnTo>
                    <a:pt x="706" y="716"/>
                  </a:lnTo>
                  <a:lnTo>
                    <a:pt x="676" y="744"/>
                  </a:lnTo>
                  <a:lnTo>
                    <a:pt x="644" y="768"/>
                  </a:lnTo>
                  <a:lnTo>
                    <a:pt x="610" y="788"/>
                  </a:lnTo>
                  <a:lnTo>
                    <a:pt x="574" y="806"/>
                  </a:lnTo>
                  <a:lnTo>
                    <a:pt x="536" y="820"/>
                  </a:lnTo>
                  <a:lnTo>
                    <a:pt x="496" y="830"/>
                  </a:lnTo>
                  <a:lnTo>
                    <a:pt x="456" y="838"/>
                  </a:lnTo>
                  <a:lnTo>
                    <a:pt x="414" y="840"/>
                  </a:lnTo>
                  <a:lnTo>
                    <a:pt x="370" y="838"/>
                  </a:lnTo>
                  <a:lnTo>
                    <a:pt x="330" y="830"/>
                  </a:lnTo>
                  <a:lnTo>
                    <a:pt x="290" y="820"/>
                  </a:lnTo>
                  <a:lnTo>
                    <a:pt x="252" y="806"/>
                  </a:lnTo>
                  <a:lnTo>
                    <a:pt x="216" y="788"/>
                  </a:lnTo>
                  <a:lnTo>
                    <a:pt x="182" y="768"/>
                  </a:lnTo>
                  <a:lnTo>
                    <a:pt x="150" y="744"/>
                  </a:lnTo>
                  <a:lnTo>
                    <a:pt x="120" y="716"/>
                  </a:lnTo>
                  <a:lnTo>
                    <a:pt x="94" y="686"/>
                  </a:lnTo>
                  <a:lnTo>
                    <a:pt x="70" y="654"/>
                  </a:lnTo>
                  <a:lnTo>
                    <a:pt x="50" y="620"/>
                  </a:lnTo>
                  <a:lnTo>
                    <a:pt x="32" y="582"/>
                  </a:lnTo>
                  <a:lnTo>
                    <a:pt x="18" y="544"/>
                  </a:lnTo>
                  <a:lnTo>
                    <a:pt x="8" y="504"/>
                  </a:lnTo>
                  <a:lnTo>
                    <a:pt x="2" y="462"/>
                  </a:lnTo>
                  <a:lnTo>
                    <a:pt x="0" y="420"/>
                  </a:lnTo>
                  <a:lnTo>
                    <a:pt x="2" y="376"/>
                  </a:lnTo>
                  <a:lnTo>
                    <a:pt x="8" y="336"/>
                  </a:lnTo>
                  <a:lnTo>
                    <a:pt x="18" y="296"/>
                  </a:lnTo>
                  <a:lnTo>
                    <a:pt x="32" y="256"/>
                  </a:lnTo>
                  <a:lnTo>
                    <a:pt x="50" y="220"/>
                  </a:lnTo>
                  <a:lnTo>
                    <a:pt x="70" y="186"/>
                  </a:lnTo>
                  <a:lnTo>
                    <a:pt x="94" y="154"/>
                  </a:lnTo>
                  <a:lnTo>
                    <a:pt x="120" y="124"/>
                  </a:lnTo>
                  <a:lnTo>
                    <a:pt x="150" y="96"/>
                  </a:lnTo>
                  <a:lnTo>
                    <a:pt x="182" y="72"/>
                  </a:lnTo>
                  <a:lnTo>
                    <a:pt x="216" y="50"/>
                  </a:lnTo>
                  <a:lnTo>
                    <a:pt x="252" y="34"/>
                  </a:lnTo>
                  <a:lnTo>
                    <a:pt x="290" y="18"/>
                  </a:lnTo>
                  <a:lnTo>
                    <a:pt x="330" y="8"/>
                  </a:lnTo>
                  <a:lnTo>
                    <a:pt x="370" y="2"/>
                  </a:lnTo>
                  <a:lnTo>
                    <a:pt x="414" y="0"/>
                  </a:lnTo>
                  <a:close/>
                </a:path>
              </a:pathLst>
            </a:custGeom>
            <a:solidFill>
              <a:srgbClr val="FFEB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193"/>
            <p:cNvSpPr>
              <a:spLocks/>
            </p:cNvSpPr>
            <p:nvPr/>
          </p:nvSpPr>
          <p:spPr bwMode="auto">
            <a:xfrm>
              <a:off x="4072" y="2479"/>
              <a:ext cx="832" cy="842"/>
            </a:xfrm>
            <a:custGeom>
              <a:avLst/>
              <a:gdLst>
                <a:gd name="T0" fmla="*/ 416 w 832"/>
                <a:gd name="T1" fmla="*/ 0 h 842"/>
                <a:gd name="T2" fmla="*/ 500 w 832"/>
                <a:gd name="T3" fmla="*/ 8 h 842"/>
                <a:gd name="T4" fmla="*/ 578 w 832"/>
                <a:gd name="T5" fmla="*/ 32 h 842"/>
                <a:gd name="T6" fmla="*/ 648 w 832"/>
                <a:gd name="T7" fmla="*/ 72 h 842"/>
                <a:gd name="T8" fmla="*/ 710 w 832"/>
                <a:gd name="T9" fmla="*/ 124 h 842"/>
                <a:gd name="T10" fmla="*/ 760 w 832"/>
                <a:gd name="T11" fmla="*/ 186 h 842"/>
                <a:gd name="T12" fmla="*/ 798 w 832"/>
                <a:gd name="T13" fmla="*/ 258 h 842"/>
                <a:gd name="T14" fmla="*/ 824 w 832"/>
                <a:gd name="T15" fmla="*/ 336 h 842"/>
                <a:gd name="T16" fmla="*/ 832 w 832"/>
                <a:gd name="T17" fmla="*/ 422 h 842"/>
                <a:gd name="T18" fmla="*/ 830 w 832"/>
                <a:gd name="T19" fmla="*/ 464 h 842"/>
                <a:gd name="T20" fmla="*/ 812 w 832"/>
                <a:gd name="T21" fmla="*/ 546 h 842"/>
                <a:gd name="T22" fmla="*/ 782 w 832"/>
                <a:gd name="T23" fmla="*/ 622 h 842"/>
                <a:gd name="T24" fmla="*/ 736 w 832"/>
                <a:gd name="T25" fmla="*/ 690 h 842"/>
                <a:gd name="T26" fmla="*/ 680 w 832"/>
                <a:gd name="T27" fmla="*/ 746 h 842"/>
                <a:gd name="T28" fmla="*/ 614 w 832"/>
                <a:gd name="T29" fmla="*/ 792 h 842"/>
                <a:gd name="T30" fmla="*/ 540 w 832"/>
                <a:gd name="T31" fmla="*/ 824 h 842"/>
                <a:gd name="T32" fmla="*/ 458 w 832"/>
                <a:gd name="T33" fmla="*/ 840 h 842"/>
                <a:gd name="T34" fmla="*/ 416 w 832"/>
                <a:gd name="T35" fmla="*/ 842 h 842"/>
                <a:gd name="T36" fmla="*/ 332 w 832"/>
                <a:gd name="T37" fmla="*/ 834 h 842"/>
                <a:gd name="T38" fmla="*/ 254 w 832"/>
                <a:gd name="T39" fmla="*/ 810 h 842"/>
                <a:gd name="T40" fmla="*/ 184 w 832"/>
                <a:gd name="T41" fmla="*/ 770 h 842"/>
                <a:gd name="T42" fmla="*/ 122 w 832"/>
                <a:gd name="T43" fmla="*/ 720 h 842"/>
                <a:gd name="T44" fmla="*/ 72 w 832"/>
                <a:gd name="T45" fmla="*/ 656 h 842"/>
                <a:gd name="T46" fmla="*/ 32 w 832"/>
                <a:gd name="T47" fmla="*/ 586 h 842"/>
                <a:gd name="T48" fmla="*/ 8 w 832"/>
                <a:gd name="T49" fmla="*/ 506 h 842"/>
                <a:gd name="T50" fmla="*/ 0 w 832"/>
                <a:gd name="T51" fmla="*/ 422 h 842"/>
                <a:gd name="T52" fmla="*/ 2 w 832"/>
                <a:gd name="T53" fmla="*/ 378 h 842"/>
                <a:gd name="T54" fmla="*/ 18 w 832"/>
                <a:gd name="T55" fmla="*/ 296 h 842"/>
                <a:gd name="T56" fmla="*/ 50 w 832"/>
                <a:gd name="T57" fmla="*/ 220 h 842"/>
                <a:gd name="T58" fmla="*/ 96 w 832"/>
                <a:gd name="T59" fmla="*/ 154 h 842"/>
                <a:gd name="T60" fmla="*/ 152 w 832"/>
                <a:gd name="T61" fmla="*/ 96 h 842"/>
                <a:gd name="T62" fmla="*/ 218 w 832"/>
                <a:gd name="T63" fmla="*/ 50 h 842"/>
                <a:gd name="T64" fmla="*/ 292 w 832"/>
                <a:gd name="T65" fmla="*/ 18 h 842"/>
                <a:gd name="T66" fmla="*/ 374 w 832"/>
                <a:gd name="T67" fmla="*/ 2 h 842"/>
                <a:gd name="T68" fmla="*/ 416 w 832"/>
                <a:gd name="T69" fmla="*/ 0 h 8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32"/>
                <a:gd name="T106" fmla="*/ 0 h 842"/>
                <a:gd name="T107" fmla="*/ 832 w 832"/>
                <a:gd name="T108" fmla="*/ 842 h 8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32" h="842">
                  <a:moveTo>
                    <a:pt x="416" y="0"/>
                  </a:moveTo>
                  <a:lnTo>
                    <a:pt x="416" y="0"/>
                  </a:lnTo>
                  <a:lnTo>
                    <a:pt x="458" y="2"/>
                  </a:lnTo>
                  <a:lnTo>
                    <a:pt x="500" y="8"/>
                  </a:lnTo>
                  <a:lnTo>
                    <a:pt x="540" y="18"/>
                  </a:lnTo>
                  <a:lnTo>
                    <a:pt x="578" y="32"/>
                  </a:lnTo>
                  <a:lnTo>
                    <a:pt x="614" y="50"/>
                  </a:lnTo>
                  <a:lnTo>
                    <a:pt x="648" y="72"/>
                  </a:lnTo>
                  <a:lnTo>
                    <a:pt x="680" y="96"/>
                  </a:lnTo>
                  <a:lnTo>
                    <a:pt x="710" y="124"/>
                  </a:lnTo>
                  <a:lnTo>
                    <a:pt x="736" y="154"/>
                  </a:lnTo>
                  <a:lnTo>
                    <a:pt x="760" y="186"/>
                  </a:lnTo>
                  <a:lnTo>
                    <a:pt x="782" y="220"/>
                  </a:lnTo>
                  <a:lnTo>
                    <a:pt x="798" y="258"/>
                  </a:lnTo>
                  <a:lnTo>
                    <a:pt x="812" y="296"/>
                  </a:lnTo>
                  <a:lnTo>
                    <a:pt x="824" y="336"/>
                  </a:lnTo>
                  <a:lnTo>
                    <a:pt x="830" y="378"/>
                  </a:lnTo>
                  <a:lnTo>
                    <a:pt x="832" y="422"/>
                  </a:lnTo>
                  <a:lnTo>
                    <a:pt x="830" y="464"/>
                  </a:lnTo>
                  <a:lnTo>
                    <a:pt x="824" y="506"/>
                  </a:lnTo>
                  <a:lnTo>
                    <a:pt x="812" y="546"/>
                  </a:lnTo>
                  <a:lnTo>
                    <a:pt x="798" y="586"/>
                  </a:lnTo>
                  <a:lnTo>
                    <a:pt x="782" y="622"/>
                  </a:lnTo>
                  <a:lnTo>
                    <a:pt x="760" y="656"/>
                  </a:lnTo>
                  <a:lnTo>
                    <a:pt x="736" y="690"/>
                  </a:lnTo>
                  <a:lnTo>
                    <a:pt x="710" y="720"/>
                  </a:lnTo>
                  <a:lnTo>
                    <a:pt x="680" y="746"/>
                  </a:lnTo>
                  <a:lnTo>
                    <a:pt x="648" y="770"/>
                  </a:lnTo>
                  <a:lnTo>
                    <a:pt x="614" y="792"/>
                  </a:lnTo>
                  <a:lnTo>
                    <a:pt x="578" y="810"/>
                  </a:lnTo>
                  <a:lnTo>
                    <a:pt x="540" y="824"/>
                  </a:lnTo>
                  <a:lnTo>
                    <a:pt x="500" y="834"/>
                  </a:lnTo>
                  <a:lnTo>
                    <a:pt x="458" y="840"/>
                  </a:lnTo>
                  <a:lnTo>
                    <a:pt x="416" y="842"/>
                  </a:lnTo>
                  <a:lnTo>
                    <a:pt x="374" y="840"/>
                  </a:lnTo>
                  <a:lnTo>
                    <a:pt x="332" y="834"/>
                  </a:lnTo>
                  <a:lnTo>
                    <a:pt x="292" y="824"/>
                  </a:lnTo>
                  <a:lnTo>
                    <a:pt x="254" y="810"/>
                  </a:lnTo>
                  <a:lnTo>
                    <a:pt x="218" y="792"/>
                  </a:lnTo>
                  <a:lnTo>
                    <a:pt x="184" y="770"/>
                  </a:lnTo>
                  <a:lnTo>
                    <a:pt x="152" y="746"/>
                  </a:lnTo>
                  <a:lnTo>
                    <a:pt x="122" y="720"/>
                  </a:lnTo>
                  <a:lnTo>
                    <a:pt x="96" y="690"/>
                  </a:lnTo>
                  <a:lnTo>
                    <a:pt x="72" y="656"/>
                  </a:lnTo>
                  <a:lnTo>
                    <a:pt x="50" y="622"/>
                  </a:lnTo>
                  <a:lnTo>
                    <a:pt x="32" y="586"/>
                  </a:lnTo>
                  <a:lnTo>
                    <a:pt x="18" y="546"/>
                  </a:lnTo>
                  <a:lnTo>
                    <a:pt x="8" y="506"/>
                  </a:lnTo>
                  <a:lnTo>
                    <a:pt x="2" y="464"/>
                  </a:lnTo>
                  <a:lnTo>
                    <a:pt x="0" y="422"/>
                  </a:lnTo>
                  <a:lnTo>
                    <a:pt x="2" y="378"/>
                  </a:lnTo>
                  <a:lnTo>
                    <a:pt x="8" y="336"/>
                  </a:lnTo>
                  <a:lnTo>
                    <a:pt x="18" y="296"/>
                  </a:lnTo>
                  <a:lnTo>
                    <a:pt x="32" y="258"/>
                  </a:lnTo>
                  <a:lnTo>
                    <a:pt x="50" y="220"/>
                  </a:lnTo>
                  <a:lnTo>
                    <a:pt x="72" y="186"/>
                  </a:lnTo>
                  <a:lnTo>
                    <a:pt x="96" y="154"/>
                  </a:lnTo>
                  <a:lnTo>
                    <a:pt x="122" y="124"/>
                  </a:lnTo>
                  <a:lnTo>
                    <a:pt x="152" y="96"/>
                  </a:lnTo>
                  <a:lnTo>
                    <a:pt x="184" y="72"/>
                  </a:lnTo>
                  <a:lnTo>
                    <a:pt x="218" y="50"/>
                  </a:lnTo>
                  <a:lnTo>
                    <a:pt x="254" y="32"/>
                  </a:lnTo>
                  <a:lnTo>
                    <a:pt x="292" y="18"/>
                  </a:lnTo>
                  <a:lnTo>
                    <a:pt x="332" y="8"/>
                  </a:lnTo>
                  <a:lnTo>
                    <a:pt x="374" y="2"/>
                  </a:lnTo>
                  <a:lnTo>
                    <a:pt x="416" y="0"/>
                  </a:lnTo>
                  <a:close/>
                </a:path>
              </a:pathLst>
            </a:custGeom>
            <a:solidFill>
              <a:srgbClr val="FCE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94"/>
            <p:cNvSpPr>
              <a:spLocks/>
            </p:cNvSpPr>
            <p:nvPr/>
          </p:nvSpPr>
          <p:spPr bwMode="auto">
            <a:xfrm>
              <a:off x="4068" y="2475"/>
              <a:ext cx="836" cy="848"/>
            </a:xfrm>
            <a:custGeom>
              <a:avLst/>
              <a:gdLst>
                <a:gd name="T0" fmla="*/ 418 w 836"/>
                <a:gd name="T1" fmla="*/ 0 h 848"/>
                <a:gd name="T2" fmla="*/ 502 w 836"/>
                <a:gd name="T3" fmla="*/ 10 h 848"/>
                <a:gd name="T4" fmla="*/ 580 w 836"/>
                <a:gd name="T5" fmla="*/ 34 h 848"/>
                <a:gd name="T6" fmla="*/ 652 w 836"/>
                <a:gd name="T7" fmla="*/ 74 h 848"/>
                <a:gd name="T8" fmla="*/ 714 w 836"/>
                <a:gd name="T9" fmla="*/ 124 h 848"/>
                <a:gd name="T10" fmla="*/ 764 w 836"/>
                <a:gd name="T11" fmla="*/ 188 h 848"/>
                <a:gd name="T12" fmla="*/ 804 w 836"/>
                <a:gd name="T13" fmla="*/ 260 h 848"/>
                <a:gd name="T14" fmla="*/ 828 w 836"/>
                <a:gd name="T15" fmla="*/ 340 h 848"/>
                <a:gd name="T16" fmla="*/ 836 w 836"/>
                <a:gd name="T17" fmla="*/ 424 h 848"/>
                <a:gd name="T18" fmla="*/ 834 w 836"/>
                <a:gd name="T19" fmla="*/ 468 h 848"/>
                <a:gd name="T20" fmla="*/ 818 w 836"/>
                <a:gd name="T21" fmla="*/ 550 h 848"/>
                <a:gd name="T22" fmla="*/ 786 w 836"/>
                <a:gd name="T23" fmla="*/ 626 h 848"/>
                <a:gd name="T24" fmla="*/ 740 w 836"/>
                <a:gd name="T25" fmla="*/ 694 h 848"/>
                <a:gd name="T26" fmla="*/ 684 w 836"/>
                <a:gd name="T27" fmla="*/ 752 h 848"/>
                <a:gd name="T28" fmla="*/ 618 w 836"/>
                <a:gd name="T29" fmla="*/ 798 h 848"/>
                <a:gd name="T30" fmla="*/ 542 w 836"/>
                <a:gd name="T31" fmla="*/ 830 h 848"/>
                <a:gd name="T32" fmla="*/ 462 w 836"/>
                <a:gd name="T33" fmla="*/ 846 h 848"/>
                <a:gd name="T34" fmla="*/ 418 w 836"/>
                <a:gd name="T35" fmla="*/ 848 h 848"/>
                <a:gd name="T36" fmla="*/ 334 w 836"/>
                <a:gd name="T37" fmla="*/ 840 h 848"/>
                <a:gd name="T38" fmla="*/ 256 w 836"/>
                <a:gd name="T39" fmla="*/ 814 h 848"/>
                <a:gd name="T40" fmla="*/ 186 w 836"/>
                <a:gd name="T41" fmla="*/ 776 h 848"/>
                <a:gd name="T42" fmla="*/ 124 w 836"/>
                <a:gd name="T43" fmla="*/ 724 h 848"/>
                <a:gd name="T44" fmla="*/ 72 w 836"/>
                <a:gd name="T45" fmla="*/ 662 h 848"/>
                <a:gd name="T46" fmla="*/ 34 w 836"/>
                <a:gd name="T47" fmla="*/ 590 h 848"/>
                <a:gd name="T48" fmla="*/ 10 w 836"/>
                <a:gd name="T49" fmla="*/ 510 h 848"/>
                <a:gd name="T50" fmla="*/ 0 w 836"/>
                <a:gd name="T51" fmla="*/ 424 h 848"/>
                <a:gd name="T52" fmla="*/ 2 w 836"/>
                <a:gd name="T53" fmla="*/ 382 h 848"/>
                <a:gd name="T54" fmla="*/ 20 w 836"/>
                <a:gd name="T55" fmla="*/ 298 h 848"/>
                <a:gd name="T56" fmla="*/ 52 w 836"/>
                <a:gd name="T57" fmla="*/ 222 h 848"/>
                <a:gd name="T58" fmla="*/ 96 w 836"/>
                <a:gd name="T59" fmla="*/ 154 h 848"/>
                <a:gd name="T60" fmla="*/ 152 w 836"/>
                <a:gd name="T61" fmla="*/ 98 h 848"/>
                <a:gd name="T62" fmla="*/ 220 w 836"/>
                <a:gd name="T63" fmla="*/ 52 h 848"/>
                <a:gd name="T64" fmla="*/ 294 w 836"/>
                <a:gd name="T65" fmla="*/ 20 h 848"/>
                <a:gd name="T66" fmla="*/ 376 w 836"/>
                <a:gd name="T67" fmla="*/ 2 h 848"/>
                <a:gd name="T68" fmla="*/ 418 w 836"/>
                <a:gd name="T69" fmla="*/ 0 h 8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36"/>
                <a:gd name="T106" fmla="*/ 0 h 848"/>
                <a:gd name="T107" fmla="*/ 836 w 836"/>
                <a:gd name="T108" fmla="*/ 848 h 8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36" h="848">
                  <a:moveTo>
                    <a:pt x="418" y="0"/>
                  </a:moveTo>
                  <a:lnTo>
                    <a:pt x="418" y="0"/>
                  </a:lnTo>
                  <a:lnTo>
                    <a:pt x="462" y="2"/>
                  </a:lnTo>
                  <a:lnTo>
                    <a:pt x="502" y="10"/>
                  </a:lnTo>
                  <a:lnTo>
                    <a:pt x="542" y="20"/>
                  </a:lnTo>
                  <a:lnTo>
                    <a:pt x="580" y="34"/>
                  </a:lnTo>
                  <a:lnTo>
                    <a:pt x="618" y="52"/>
                  </a:lnTo>
                  <a:lnTo>
                    <a:pt x="652" y="74"/>
                  </a:lnTo>
                  <a:lnTo>
                    <a:pt x="684" y="98"/>
                  </a:lnTo>
                  <a:lnTo>
                    <a:pt x="714" y="124"/>
                  </a:lnTo>
                  <a:lnTo>
                    <a:pt x="740" y="154"/>
                  </a:lnTo>
                  <a:lnTo>
                    <a:pt x="764" y="188"/>
                  </a:lnTo>
                  <a:lnTo>
                    <a:pt x="786" y="222"/>
                  </a:lnTo>
                  <a:lnTo>
                    <a:pt x="804" y="260"/>
                  </a:lnTo>
                  <a:lnTo>
                    <a:pt x="818" y="298"/>
                  </a:lnTo>
                  <a:lnTo>
                    <a:pt x="828" y="340"/>
                  </a:lnTo>
                  <a:lnTo>
                    <a:pt x="834" y="382"/>
                  </a:lnTo>
                  <a:lnTo>
                    <a:pt x="836" y="424"/>
                  </a:lnTo>
                  <a:lnTo>
                    <a:pt x="834" y="468"/>
                  </a:lnTo>
                  <a:lnTo>
                    <a:pt x="828" y="510"/>
                  </a:lnTo>
                  <a:lnTo>
                    <a:pt x="818" y="550"/>
                  </a:lnTo>
                  <a:lnTo>
                    <a:pt x="804" y="590"/>
                  </a:lnTo>
                  <a:lnTo>
                    <a:pt x="786" y="626"/>
                  </a:lnTo>
                  <a:lnTo>
                    <a:pt x="764" y="662"/>
                  </a:lnTo>
                  <a:lnTo>
                    <a:pt x="740" y="694"/>
                  </a:lnTo>
                  <a:lnTo>
                    <a:pt x="714" y="724"/>
                  </a:lnTo>
                  <a:lnTo>
                    <a:pt x="684" y="752"/>
                  </a:lnTo>
                  <a:lnTo>
                    <a:pt x="652" y="776"/>
                  </a:lnTo>
                  <a:lnTo>
                    <a:pt x="618" y="798"/>
                  </a:lnTo>
                  <a:lnTo>
                    <a:pt x="580" y="814"/>
                  </a:lnTo>
                  <a:lnTo>
                    <a:pt x="542" y="830"/>
                  </a:lnTo>
                  <a:lnTo>
                    <a:pt x="502" y="840"/>
                  </a:lnTo>
                  <a:lnTo>
                    <a:pt x="462" y="846"/>
                  </a:lnTo>
                  <a:lnTo>
                    <a:pt x="418" y="848"/>
                  </a:lnTo>
                  <a:lnTo>
                    <a:pt x="376" y="846"/>
                  </a:lnTo>
                  <a:lnTo>
                    <a:pt x="334" y="840"/>
                  </a:lnTo>
                  <a:lnTo>
                    <a:pt x="294" y="830"/>
                  </a:lnTo>
                  <a:lnTo>
                    <a:pt x="256" y="814"/>
                  </a:lnTo>
                  <a:lnTo>
                    <a:pt x="220" y="798"/>
                  </a:lnTo>
                  <a:lnTo>
                    <a:pt x="186" y="776"/>
                  </a:lnTo>
                  <a:lnTo>
                    <a:pt x="152" y="752"/>
                  </a:lnTo>
                  <a:lnTo>
                    <a:pt x="124" y="724"/>
                  </a:lnTo>
                  <a:lnTo>
                    <a:pt x="96" y="694"/>
                  </a:lnTo>
                  <a:lnTo>
                    <a:pt x="72" y="662"/>
                  </a:lnTo>
                  <a:lnTo>
                    <a:pt x="52" y="626"/>
                  </a:lnTo>
                  <a:lnTo>
                    <a:pt x="34" y="590"/>
                  </a:lnTo>
                  <a:lnTo>
                    <a:pt x="20" y="550"/>
                  </a:lnTo>
                  <a:lnTo>
                    <a:pt x="10" y="510"/>
                  </a:lnTo>
                  <a:lnTo>
                    <a:pt x="2" y="468"/>
                  </a:lnTo>
                  <a:lnTo>
                    <a:pt x="0" y="424"/>
                  </a:lnTo>
                  <a:lnTo>
                    <a:pt x="2" y="382"/>
                  </a:lnTo>
                  <a:lnTo>
                    <a:pt x="10" y="340"/>
                  </a:lnTo>
                  <a:lnTo>
                    <a:pt x="20" y="298"/>
                  </a:lnTo>
                  <a:lnTo>
                    <a:pt x="34" y="260"/>
                  </a:lnTo>
                  <a:lnTo>
                    <a:pt x="52" y="222"/>
                  </a:lnTo>
                  <a:lnTo>
                    <a:pt x="72" y="188"/>
                  </a:lnTo>
                  <a:lnTo>
                    <a:pt x="96" y="154"/>
                  </a:lnTo>
                  <a:lnTo>
                    <a:pt x="124" y="124"/>
                  </a:lnTo>
                  <a:lnTo>
                    <a:pt x="152" y="98"/>
                  </a:lnTo>
                  <a:lnTo>
                    <a:pt x="186" y="74"/>
                  </a:lnTo>
                  <a:lnTo>
                    <a:pt x="220" y="52"/>
                  </a:lnTo>
                  <a:lnTo>
                    <a:pt x="256" y="34"/>
                  </a:lnTo>
                  <a:lnTo>
                    <a:pt x="294" y="20"/>
                  </a:lnTo>
                  <a:lnTo>
                    <a:pt x="334" y="10"/>
                  </a:lnTo>
                  <a:lnTo>
                    <a:pt x="376" y="2"/>
                  </a:lnTo>
                  <a:lnTo>
                    <a:pt x="418" y="0"/>
                  </a:lnTo>
                  <a:close/>
                </a:path>
              </a:pathLst>
            </a:custGeom>
            <a:solidFill>
              <a:srgbClr val="FCDB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95"/>
            <p:cNvSpPr>
              <a:spLocks/>
            </p:cNvSpPr>
            <p:nvPr/>
          </p:nvSpPr>
          <p:spPr bwMode="auto">
            <a:xfrm>
              <a:off x="4066" y="2473"/>
              <a:ext cx="840" cy="852"/>
            </a:xfrm>
            <a:custGeom>
              <a:avLst/>
              <a:gdLst>
                <a:gd name="T0" fmla="*/ 420 w 840"/>
                <a:gd name="T1" fmla="*/ 0 h 852"/>
                <a:gd name="T2" fmla="*/ 504 w 840"/>
                <a:gd name="T3" fmla="*/ 8 h 852"/>
                <a:gd name="T4" fmla="*/ 582 w 840"/>
                <a:gd name="T5" fmla="*/ 34 h 852"/>
                <a:gd name="T6" fmla="*/ 654 w 840"/>
                <a:gd name="T7" fmla="*/ 72 h 852"/>
                <a:gd name="T8" fmla="*/ 716 w 840"/>
                <a:gd name="T9" fmla="*/ 124 h 852"/>
                <a:gd name="T10" fmla="*/ 768 w 840"/>
                <a:gd name="T11" fmla="*/ 188 h 852"/>
                <a:gd name="T12" fmla="*/ 806 w 840"/>
                <a:gd name="T13" fmla="*/ 260 h 852"/>
                <a:gd name="T14" fmla="*/ 830 w 840"/>
                <a:gd name="T15" fmla="*/ 340 h 852"/>
                <a:gd name="T16" fmla="*/ 840 w 840"/>
                <a:gd name="T17" fmla="*/ 426 h 852"/>
                <a:gd name="T18" fmla="*/ 836 w 840"/>
                <a:gd name="T19" fmla="*/ 470 h 852"/>
                <a:gd name="T20" fmla="*/ 820 w 840"/>
                <a:gd name="T21" fmla="*/ 552 h 852"/>
                <a:gd name="T22" fmla="*/ 788 w 840"/>
                <a:gd name="T23" fmla="*/ 628 h 852"/>
                <a:gd name="T24" fmla="*/ 744 w 840"/>
                <a:gd name="T25" fmla="*/ 696 h 852"/>
                <a:gd name="T26" fmla="*/ 686 w 840"/>
                <a:gd name="T27" fmla="*/ 754 h 852"/>
                <a:gd name="T28" fmla="*/ 620 w 840"/>
                <a:gd name="T29" fmla="*/ 800 h 852"/>
                <a:gd name="T30" fmla="*/ 544 w 840"/>
                <a:gd name="T31" fmla="*/ 832 h 852"/>
                <a:gd name="T32" fmla="*/ 462 w 840"/>
                <a:gd name="T33" fmla="*/ 850 h 852"/>
                <a:gd name="T34" fmla="*/ 420 w 840"/>
                <a:gd name="T35" fmla="*/ 852 h 852"/>
                <a:gd name="T36" fmla="*/ 334 w 840"/>
                <a:gd name="T37" fmla="*/ 844 h 852"/>
                <a:gd name="T38" fmla="*/ 256 w 840"/>
                <a:gd name="T39" fmla="*/ 818 h 852"/>
                <a:gd name="T40" fmla="*/ 184 w 840"/>
                <a:gd name="T41" fmla="*/ 778 h 852"/>
                <a:gd name="T42" fmla="*/ 122 w 840"/>
                <a:gd name="T43" fmla="*/ 726 h 852"/>
                <a:gd name="T44" fmla="*/ 72 w 840"/>
                <a:gd name="T45" fmla="*/ 664 h 852"/>
                <a:gd name="T46" fmla="*/ 32 w 840"/>
                <a:gd name="T47" fmla="*/ 592 h 852"/>
                <a:gd name="T48" fmla="*/ 8 w 840"/>
                <a:gd name="T49" fmla="*/ 512 h 852"/>
                <a:gd name="T50" fmla="*/ 0 w 840"/>
                <a:gd name="T51" fmla="*/ 426 h 852"/>
                <a:gd name="T52" fmla="*/ 2 w 840"/>
                <a:gd name="T53" fmla="*/ 382 h 852"/>
                <a:gd name="T54" fmla="*/ 18 w 840"/>
                <a:gd name="T55" fmla="*/ 300 h 852"/>
                <a:gd name="T56" fmla="*/ 50 w 840"/>
                <a:gd name="T57" fmla="*/ 222 h 852"/>
                <a:gd name="T58" fmla="*/ 96 w 840"/>
                <a:gd name="T59" fmla="*/ 154 h 852"/>
                <a:gd name="T60" fmla="*/ 152 w 840"/>
                <a:gd name="T61" fmla="*/ 98 h 852"/>
                <a:gd name="T62" fmla="*/ 220 w 840"/>
                <a:gd name="T63" fmla="*/ 52 h 852"/>
                <a:gd name="T64" fmla="*/ 294 w 840"/>
                <a:gd name="T65" fmla="*/ 18 h 852"/>
                <a:gd name="T66" fmla="*/ 376 w 840"/>
                <a:gd name="T67" fmla="*/ 2 h 852"/>
                <a:gd name="T68" fmla="*/ 420 w 840"/>
                <a:gd name="T69" fmla="*/ 0 h 8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40"/>
                <a:gd name="T106" fmla="*/ 0 h 852"/>
                <a:gd name="T107" fmla="*/ 840 w 840"/>
                <a:gd name="T108" fmla="*/ 852 h 8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40" h="852">
                  <a:moveTo>
                    <a:pt x="420" y="0"/>
                  </a:moveTo>
                  <a:lnTo>
                    <a:pt x="420" y="0"/>
                  </a:lnTo>
                  <a:lnTo>
                    <a:pt x="462" y="2"/>
                  </a:lnTo>
                  <a:lnTo>
                    <a:pt x="504" y="8"/>
                  </a:lnTo>
                  <a:lnTo>
                    <a:pt x="544" y="18"/>
                  </a:lnTo>
                  <a:lnTo>
                    <a:pt x="582" y="34"/>
                  </a:lnTo>
                  <a:lnTo>
                    <a:pt x="620" y="52"/>
                  </a:lnTo>
                  <a:lnTo>
                    <a:pt x="654" y="72"/>
                  </a:lnTo>
                  <a:lnTo>
                    <a:pt x="686" y="98"/>
                  </a:lnTo>
                  <a:lnTo>
                    <a:pt x="716" y="124"/>
                  </a:lnTo>
                  <a:lnTo>
                    <a:pt x="744" y="154"/>
                  </a:lnTo>
                  <a:lnTo>
                    <a:pt x="768" y="188"/>
                  </a:lnTo>
                  <a:lnTo>
                    <a:pt x="788" y="222"/>
                  </a:lnTo>
                  <a:lnTo>
                    <a:pt x="806" y="260"/>
                  </a:lnTo>
                  <a:lnTo>
                    <a:pt x="820" y="300"/>
                  </a:lnTo>
                  <a:lnTo>
                    <a:pt x="830" y="340"/>
                  </a:lnTo>
                  <a:lnTo>
                    <a:pt x="836" y="382"/>
                  </a:lnTo>
                  <a:lnTo>
                    <a:pt x="840" y="426"/>
                  </a:lnTo>
                  <a:lnTo>
                    <a:pt x="836" y="470"/>
                  </a:lnTo>
                  <a:lnTo>
                    <a:pt x="830" y="512"/>
                  </a:lnTo>
                  <a:lnTo>
                    <a:pt x="820" y="552"/>
                  </a:lnTo>
                  <a:lnTo>
                    <a:pt x="806" y="592"/>
                  </a:lnTo>
                  <a:lnTo>
                    <a:pt x="788" y="628"/>
                  </a:lnTo>
                  <a:lnTo>
                    <a:pt x="768" y="664"/>
                  </a:lnTo>
                  <a:lnTo>
                    <a:pt x="744" y="696"/>
                  </a:lnTo>
                  <a:lnTo>
                    <a:pt x="716" y="726"/>
                  </a:lnTo>
                  <a:lnTo>
                    <a:pt x="686" y="754"/>
                  </a:lnTo>
                  <a:lnTo>
                    <a:pt x="654" y="778"/>
                  </a:lnTo>
                  <a:lnTo>
                    <a:pt x="620" y="800"/>
                  </a:lnTo>
                  <a:lnTo>
                    <a:pt x="582" y="818"/>
                  </a:lnTo>
                  <a:lnTo>
                    <a:pt x="544" y="832"/>
                  </a:lnTo>
                  <a:lnTo>
                    <a:pt x="504" y="844"/>
                  </a:lnTo>
                  <a:lnTo>
                    <a:pt x="462" y="850"/>
                  </a:lnTo>
                  <a:lnTo>
                    <a:pt x="420" y="852"/>
                  </a:lnTo>
                  <a:lnTo>
                    <a:pt x="376" y="850"/>
                  </a:lnTo>
                  <a:lnTo>
                    <a:pt x="334" y="844"/>
                  </a:lnTo>
                  <a:lnTo>
                    <a:pt x="294" y="832"/>
                  </a:lnTo>
                  <a:lnTo>
                    <a:pt x="256" y="818"/>
                  </a:lnTo>
                  <a:lnTo>
                    <a:pt x="220" y="800"/>
                  </a:lnTo>
                  <a:lnTo>
                    <a:pt x="184" y="778"/>
                  </a:lnTo>
                  <a:lnTo>
                    <a:pt x="152" y="754"/>
                  </a:lnTo>
                  <a:lnTo>
                    <a:pt x="122" y="726"/>
                  </a:lnTo>
                  <a:lnTo>
                    <a:pt x="96" y="696"/>
                  </a:lnTo>
                  <a:lnTo>
                    <a:pt x="72" y="664"/>
                  </a:lnTo>
                  <a:lnTo>
                    <a:pt x="50" y="628"/>
                  </a:lnTo>
                  <a:lnTo>
                    <a:pt x="32" y="592"/>
                  </a:lnTo>
                  <a:lnTo>
                    <a:pt x="18" y="552"/>
                  </a:lnTo>
                  <a:lnTo>
                    <a:pt x="8" y="512"/>
                  </a:lnTo>
                  <a:lnTo>
                    <a:pt x="2" y="470"/>
                  </a:lnTo>
                  <a:lnTo>
                    <a:pt x="0" y="426"/>
                  </a:lnTo>
                  <a:lnTo>
                    <a:pt x="2" y="382"/>
                  </a:lnTo>
                  <a:lnTo>
                    <a:pt x="8" y="340"/>
                  </a:lnTo>
                  <a:lnTo>
                    <a:pt x="18" y="300"/>
                  </a:lnTo>
                  <a:lnTo>
                    <a:pt x="32" y="260"/>
                  </a:lnTo>
                  <a:lnTo>
                    <a:pt x="50" y="222"/>
                  </a:lnTo>
                  <a:lnTo>
                    <a:pt x="72" y="188"/>
                  </a:lnTo>
                  <a:lnTo>
                    <a:pt x="96" y="154"/>
                  </a:lnTo>
                  <a:lnTo>
                    <a:pt x="122" y="124"/>
                  </a:lnTo>
                  <a:lnTo>
                    <a:pt x="152" y="98"/>
                  </a:lnTo>
                  <a:lnTo>
                    <a:pt x="184" y="72"/>
                  </a:lnTo>
                  <a:lnTo>
                    <a:pt x="220" y="52"/>
                  </a:lnTo>
                  <a:lnTo>
                    <a:pt x="256" y="34"/>
                  </a:lnTo>
                  <a:lnTo>
                    <a:pt x="294" y="18"/>
                  </a:lnTo>
                  <a:lnTo>
                    <a:pt x="334" y="8"/>
                  </a:lnTo>
                  <a:lnTo>
                    <a:pt x="376" y="2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rgbClr val="FCD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196"/>
            <p:cNvSpPr>
              <a:spLocks/>
            </p:cNvSpPr>
            <p:nvPr/>
          </p:nvSpPr>
          <p:spPr bwMode="auto">
            <a:xfrm>
              <a:off x="4062" y="2469"/>
              <a:ext cx="844" cy="858"/>
            </a:xfrm>
            <a:custGeom>
              <a:avLst/>
              <a:gdLst>
                <a:gd name="T0" fmla="*/ 422 w 844"/>
                <a:gd name="T1" fmla="*/ 0 h 858"/>
                <a:gd name="T2" fmla="*/ 506 w 844"/>
                <a:gd name="T3" fmla="*/ 10 h 858"/>
                <a:gd name="T4" fmla="*/ 586 w 844"/>
                <a:gd name="T5" fmla="*/ 34 h 858"/>
                <a:gd name="T6" fmla="*/ 658 w 844"/>
                <a:gd name="T7" fmla="*/ 74 h 858"/>
                <a:gd name="T8" fmla="*/ 720 w 844"/>
                <a:gd name="T9" fmla="*/ 126 h 858"/>
                <a:gd name="T10" fmla="*/ 772 w 844"/>
                <a:gd name="T11" fmla="*/ 190 h 858"/>
                <a:gd name="T12" fmla="*/ 810 w 844"/>
                <a:gd name="T13" fmla="*/ 262 h 858"/>
                <a:gd name="T14" fmla="*/ 836 w 844"/>
                <a:gd name="T15" fmla="*/ 342 h 858"/>
                <a:gd name="T16" fmla="*/ 844 w 844"/>
                <a:gd name="T17" fmla="*/ 430 h 858"/>
                <a:gd name="T18" fmla="*/ 842 w 844"/>
                <a:gd name="T19" fmla="*/ 472 h 858"/>
                <a:gd name="T20" fmla="*/ 824 w 844"/>
                <a:gd name="T21" fmla="*/ 556 h 858"/>
                <a:gd name="T22" fmla="*/ 792 w 844"/>
                <a:gd name="T23" fmla="*/ 632 h 858"/>
                <a:gd name="T24" fmla="*/ 748 w 844"/>
                <a:gd name="T25" fmla="*/ 702 h 858"/>
                <a:gd name="T26" fmla="*/ 690 w 844"/>
                <a:gd name="T27" fmla="*/ 760 h 858"/>
                <a:gd name="T28" fmla="*/ 622 w 844"/>
                <a:gd name="T29" fmla="*/ 806 h 858"/>
                <a:gd name="T30" fmla="*/ 548 w 844"/>
                <a:gd name="T31" fmla="*/ 838 h 858"/>
                <a:gd name="T32" fmla="*/ 464 w 844"/>
                <a:gd name="T33" fmla="*/ 856 h 858"/>
                <a:gd name="T34" fmla="*/ 422 w 844"/>
                <a:gd name="T35" fmla="*/ 858 h 858"/>
                <a:gd name="T36" fmla="*/ 338 w 844"/>
                <a:gd name="T37" fmla="*/ 848 h 858"/>
                <a:gd name="T38" fmla="*/ 258 w 844"/>
                <a:gd name="T39" fmla="*/ 824 h 858"/>
                <a:gd name="T40" fmla="*/ 186 w 844"/>
                <a:gd name="T41" fmla="*/ 784 h 858"/>
                <a:gd name="T42" fmla="*/ 124 w 844"/>
                <a:gd name="T43" fmla="*/ 732 h 858"/>
                <a:gd name="T44" fmla="*/ 72 w 844"/>
                <a:gd name="T45" fmla="*/ 668 h 858"/>
                <a:gd name="T46" fmla="*/ 34 w 844"/>
                <a:gd name="T47" fmla="*/ 596 h 858"/>
                <a:gd name="T48" fmla="*/ 8 w 844"/>
                <a:gd name="T49" fmla="*/ 516 h 858"/>
                <a:gd name="T50" fmla="*/ 0 w 844"/>
                <a:gd name="T51" fmla="*/ 430 h 858"/>
                <a:gd name="T52" fmla="*/ 2 w 844"/>
                <a:gd name="T53" fmla="*/ 386 h 858"/>
                <a:gd name="T54" fmla="*/ 18 w 844"/>
                <a:gd name="T55" fmla="*/ 302 h 858"/>
                <a:gd name="T56" fmla="*/ 50 w 844"/>
                <a:gd name="T57" fmla="*/ 226 h 858"/>
                <a:gd name="T58" fmla="*/ 96 w 844"/>
                <a:gd name="T59" fmla="*/ 156 h 858"/>
                <a:gd name="T60" fmla="*/ 154 w 844"/>
                <a:gd name="T61" fmla="*/ 98 h 858"/>
                <a:gd name="T62" fmla="*/ 220 w 844"/>
                <a:gd name="T63" fmla="*/ 52 h 858"/>
                <a:gd name="T64" fmla="*/ 296 w 844"/>
                <a:gd name="T65" fmla="*/ 20 h 858"/>
                <a:gd name="T66" fmla="*/ 378 w 844"/>
                <a:gd name="T67" fmla="*/ 4 h 858"/>
                <a:gd name="T68" fmla="*/ 422 w 844"/>
                <a:gd name="T69" fmla="*/ 0 h 85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44"/>
                <a:gd name="T106" fmla="*/ 0 h 858"/>
                <a:gd name="T107" fmla="*/ 844 w 844"/>
                <a:gd name="T108" fmla="*/ 858 h 85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44" h="858">
                  <a:moveTo>
                    <a:pt x="422" y="0"/>
                  </a:moveTo>
                  <a:lnTo>
                    <a:pt x="422" y="0"/>
                  </a:lnTo>
                  <a:lnTo>
                    <a:pt x="464" y="4"/>
                  </a:lnTo>
                  <a:lnTo>
                    <a:pt x="506" y="10"/>
                  </a:lnTo>
                  <a:lnTo>
                    <a:pt x="548" y="20"/>
                  </a:lnTo>
                  <a:lnTo>
                    <a:pt x="586" y="34"/>
                  </a:lnTo>
                  <a:lnTo>
                    <a:pt x="622" y="52"/>
                  </a:lnTo>
                  <a:lnTo>
                    <a:pt x="658" y="74"/>
                  </a:lnTo>
                  <a:lnTo>
                    <a:pt x="690" y="98"/>
                  </a:lnTo>
                  <a:lnTo>
                    <a:pt x="720" y="126"/>
                  </a:lnTo>
                  <a:lnTo>
                    <a:pt x="748" y="156"/>
                  </a:lnTo>
                  <a:lnTo>
                    <a:pt x="772" y="190"/>
                  </a:lnTo>
                  <a:lnTo>
                    <a:pt x="792" y="226"/>
                  </a:lnTo>
                  <a:lnTo>
                    <a:pt x="810" y="262"/>
                  </a:lnTo>
                  <a:lnTo>
                    <a:pt x="824" y="302"/>
                  </a:lnTo>
                  <a:lnTo>
                    <a:pt x="836" y="342"/>
                  </a:lnTo>
                  <a:lnTo>
                    <a:pt x="842" y="386"/>
                  </a:lnTo>
                  <a:lnTo>
                    <a:pt x="844" y="430"/>
                  </a:lnTo>
                  <a:lnTo>
                    <a:pt x="842" y="472"/>
                  </a:lnTo>
                  <a:lnTo>
                    <a:pt x="836" y="516"/>
                  </a:lnTo>
                  <a:lnTo>
                    <a:pt x="824" y="556"/>
                  </a:lnTo>
                  <a:lnTo>
                    <a:pt x="810" y="596"/>
                  </a:lnTo>
                  <a:lnTo>
                    <a:pt x="792" y="632"/>
                  </a:lnTo>
                  <a:lnTo>
                    <a:pt x="772" y="668"/>
                  </a:lnTo>
                  <a:lnTo>
                    <a:pt x="748" y="702"/>
                  </a:lnTo>
                  <a:lnTo>
                    <a:pt x="720" y="732"/>
                  </a:lnTo>
                  <a:lnTo>
                    <a:pt x="690" y="760"/>
                  </a:lnTo>
                  <a:lnTo>
                    <a:pt x="658" y="784"/>
                  </a:lnTo>
                  <a:lnTo>
                    <a:pt x="622" y="806"/>
                  </a:lnTo>
                  <a:lnTo>
                    <a:pt x="586" y="824"/>
                  </a:lnTo>
                  <a:lnTo>
                    <a:pt x="548" y="838"/>
                  </a:lnTo>
                  <a:lnTo>
                    <a:pt x="506" y="848"/>
                  </a:lnTo>
                  <a:lnTo>
                    <a:pt x="464" y="856"/>
                  </a:lnTo>
                  <a:lnTo>
                    <a:pt x="422" y="858"/>
                  </a:lnTo>
                  <a:lnTo>
                    <a:pt x="378" y="856"/>
                  </a:lnTo>
                  <a:lnTo>
                    <a:pt x="338" y="848"/>
                  </a:lnTo>
                  <a:lnTo>
                    <a:pt x="296" y="838"/>
                  </a:lnTo>
                  <a:lnTo>
                    <a:pt x="258" y="824"/>
                  </a:lnTo>
                  <a:lnTo>
                    <a:pt x="220" y="806"/>
                  </a:lnTo>
                  <a:lnTo>
                    <a:pt x="186" y="784"/>
                  </a:lnTo>
                  <a:lnTo>
                    <a:pt x="154" y="760"/>
                  </a:lnTo>
                  <a:lnTo>
                    <a:pt x="124" y="732"/>
                  </a:lnTo>
                  <a:lnTo>
                    <a:pt x="96" y="702"/>
                  </a:lnTo>
                  <a:lnTo>
                    <a:pt x="72" y="668"/>
                  </a:lnTo>
                  <a:lnTo>
                    <a:pt x="50" y="632"/>
                  </a:lnTo>
                  <a:lnTo>
                    <a:pt x="34" y="596"/>
                  </a:lnTo>
                  <a:lnTo>
                    <a:pt x="18" y="556"/>
                  </a:lnTo>
                  <a:lnTo>
                    <a:pt x="8" y="516"/>
                  </a:lnTo>
                  <a:lnTo>
                    <a:pt x="2" y="472"/>
                  </a:lnTo>
                  <a:lnTo>
                    <a:pt x="0" y="430"/>
                  </a:lnTo>
                  <a:lnTo>
                    <a:pt x="2" y="386"/>
                  </a:lnTo>
                  <a:lnTo>
                    <a:pt x="8" y="342"/>
                  </a:lnTo>
                  <a:lnTo>
                    <a:pt x="18" y="302"/>
                  </a:lnTo>
                  <a:lnTo>
                    <a:pt x="34" y="262"/>
                  </a:lnTo>
                  <a:lnTo>
                    <a:pt x="50" y="226"/>
                  </a:lnTo>
                  <a:lnTo>
                    <a:pt x="72" y="190"/>
                  </a:lnTo>
                  <a:lnTo>
                    <a:pt x="96" y="156"/>
                  </a:lnTo>
                  <a:lnTo>
                    <a:pt x="124" y="126"/>
                  </a:lnTo>
                  <a:lnTo>
                    <a:pt x="154" y="98"/>
                  </a:lnTo>
                  <a:lnTo>
                    <a:pt x="186" y="74"/>
                  </a:lnTo>
                  <a:lnTo>
                    <a:pt x="220" y="52"/>
                  </a:lnTo>
                  <a:lnTo>
                    <a:pt x="258" y="34"/>
                  </a:lnTo>
                  <a:lnTo>
                    <a:pt x="296" y="20"/>
                  </a:lnTo>
                  <a:lnTo>
                    <a:pt x="338" y="10"/>
                  </a:lnTo>
                  <a:lnTo>
                    <a:pt x="378" y="4"/>
                  </a:lnTo>
                  <a:lnTo>
                    <a:pt x="422" y="0"/>
                  </a:lnTo>
                  <a:close/>
                </a:path>
              </a:pathLst>
            </a:custGeom>
            <a:solidFill>
              <a:srgbClr val="FCCC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197"/>
            <p:cNvSpPr>
              <a:spLocks/>
            </p:cNvSpPr>
            <p:nvPr/>
          </p:nvSpPr>
          <p:spPr bwMode="auto">
            <a:xfrm>
              <a:off x="4058" y="2467"/>
              <a:ext cx="848" cy="860"/>
            </a:xfrm>
            <a:custGeom>
              <a:avLst/>
              <a:gdLst>
                <a:gd name="T0" fmla="*/ 424 w 848"/>
                <a:gd name="T1" fmla="*/ 0 h 860"/>
                <a:gd name="T2" fmla="*/ 510 w 848"/>
                <a:gd name="T3" fmla="*/ 8 h 860"/>
                <a:gd name="T4" fmla="*/ 590 w 848"/>
                <a:gd name="T5" fmla="*/ 34 h 860"/>
                <a:gd name="T6" fmla="*/ 662 w 848"/>
                <a:gd name="T7" fmla="*/ 74 h 860"/>
                <a:gd name="T8" fmla="*/ 724 w 848"/>
                <a:gd name="T9" fmla="*/ 126 h 860"/>
                <a:gd name="T10" fmla="*/ 776 w 848"/>
                <a:gd name="T11" fmla="*/ 190 h 860"/>
                <a:gd name="T12" fmla="*/ 816 w 848"/>
                <a:gd name="T13" fmla="*/ 264 h 860"/>
                <a:gd name="T14" fmla="*/ 840 w 848"/>
                <a:gd name="T15" fmla="*/ 344 h 860"/>
                <a:gd name="T16" fmla="*/ 848 w 848"/>
                <a:gd name="T17" fmla="*/ 430 h 860"/>
                <a:gd name="T18" fmla="*/ 846 w 848"/>
                <a:gd name="T19" fmla="*/ 474 h 860"/>
                <a:gd name="T20" fmla="*/ 830 w 848"/>
                <a:gd name="T21" fmla="*/ 558 h 860"/>
                <a:gd name="T22" fmla="*/ 798 w 848"/>
                <a:gd name="T23" fmla="*/ 636 h 860"/>
                <a:gd name="T24" fmla="*/ 752 w 848"/>
                <a:gd name="T25" fmla="*/ 704 h 860"/>
                <a:gd name="T26" fmla="*/ 694 w 848"/>
                <a:gd name="T27" fmla="*/ 762 h 860"/>
                <a:gd name="T28" fmla="*/ 626 w 848"/>
                <a:gd name="T29" fmla="*/ 808 h 860"/>
                <a:gd name="T30" fmla="*/ 550 w 848"/>
                <a:gd name="T31" fmla="*/ 842 h 860"/>
                <a:gd name="T32" fmla="*/ 468 w 848"/>
                <a:gd name="T33" fmla="*/ 858 h 860"/>
                <a:gd name="T34" fmla="*/ 424 w 848"/>
                <a:gd name="T35" fmla="*/ 860 h 860"/>
                <a:gd name="T36" fmla="*/ 340 w 848"/>
                <a:gd name="T37" fmla="*/ 852 h 860"/>
                <a:gd name="T38" fmla="*/ 260 w 848"/>
                <a:gd name="T39" fmla="*/ 826 h 860"/>
                <a:gd name="T40" fmla="*/ 188 w 848"/>
                <a:gd name="T41" fmla="*/ 788 h 860"/>
                <a:gd name="T42" fmla="*/ 124 w 848"/>
                <a:gd name="T43" fmla="*/ 734 h 860"/>
                <a:gd name="T44" fmla="*/ 74 w 848"/>
                <a:gd name="T45" fmla="*/ 670 h 860"/>
                <a:gd name="T46" fmla="*/ 34 w 848"/>
                <a:gd name="T47" fmla="*/ 598 h 860"/>
                <a:gd name="T48" fmla="*/ 10 w 848"/>
                <a:gd name="T49" fmla="*/ 516 h 860"/>
                <a:gd name="T50" fmla="*/ 0 w 848"/>
                <a:gd name="T51" fmla="*/ 430 h 860"/>
                <a:gd name="T52" fmla="*/ 2 w 848"/>
                <a:gd name="T53" fmla="*/ 386 h 860"/>
                <a:gd name="T54" fmla="*/ 20 w 848"/>
                <a:gd name="T55" fmla="*/ 302 h 860"/>
                <a:gd name="T56" fmla="*/ 52 w 848"/>
                <a:gd name="T57" fmla="*/ 226 h 860"/>
                <a:gd name="T58" fmla="*/ 98 w 848"/>
                <a:gd name="T59" fmla="*/ 156 h 860"/>
                <a:gd name="T60" fmla="*/ 156 w 848"/>
                <a:gd name="T61" fmla="*/ 98 h 860"/>
                <a:gd name="T62" fmla="*/ 222 w 848"/>
                <a:gd name="T63" fmla="*/ 52 h 860"/>
                <a:gd name="T64" fmla="*/ 298 w 848"/>
                <a:gd name="T65" fmla="*/ 20 h 860"/>
                <a:gd name="T66" fmla="*/ 382 w 848"/>
                <a:gd name="T67" fmla="*/ 2 h 860"/>
                <a:gd name="T68" fmla="*/ 424 w 848"/>
                <a:gd name="T69" fmla="*/ 0 h 86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48"/>
                <a:gd name="T106" fmla="*/ 0 h 860"/>
                <a:gd name="T107" fmla="*/ 848 w 848"/>
                <a:gd name="T108" fmla="*/ 860 h 86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48" h="860">
                  <a:moveTo>
                    <a:pt x="424" y="0"/>
                  </a:moveTo>
                  <a:lnTo>
                    <a:pt x="424" y="0"/>
                  </a:lnTo>
                  <a:lnTo>
                    <a:pt x="468" y="2"/>
                  </a:lnTo>
                  <a:lnTo>
                    <a:pt x="510" y="8"/>
                  </a:lnTo>
                  <a:lnTo>
                    <a:pt x="550" y="20"/>
                  </a:lnTo>
                  <a:lnTo>
                    <a:pt x="590" y="34"/>
                  </a:lnTo>
                  <a:lnTo>
                    <a:pt x="626" y="52"/>
                  </a:lnTo>
                  <a:lnTo>
                    <a:pt x="662" y="74"/>
                  </a:lnTo>
                  <a:lnTo>
                    <a:pt x="694" y="98"/>
                  </a:lnTo>
                  <a:lnTo>
                    <a:pt x="724" y="126"/>
                  </a:lnTo>
                  <a:lnTo>
                    <a:pt x="752" y="156"/>
                  </a:lnTo>
                  <a:lnTo>
                    <a:pt x="776" y="190"/>
                  </a:lnTo>
                  <a:lnTo>
                    <a:pt x="798" y="226"/>
                  </a:lnTo>
                  <a:lnTo>
                    <a:pt x="816" y="264"/>
                  </a:lnTo>
                  <a:lnTo>
                    <a:pt x="830" y="302"/>
                  </a:lnTo>
                  <a:lnTo>
                    <a:pt x="840" y="344"/>
                  </a:lnTo>
                  <a:lnTo>
                    <a:pt x="846" y="386"/>
                  </a:lnTo>
                  <a:lnTo>
                    <a:pt x="848" y="430"/>
                  </a:lnTo>
                  <a:lnTo>
                    <a:pt x="846" y="474"/>
                  </a:lnTo>
                  <a:lnTo>
                    <a:pt x="840" y="516"/>
                  </a:lnTo>
                  <a:lnTo>
                    <a:pt x="830" y="558"/>
                  </a:lnTo>
                  <a:lnTo>
                    <a:pt x="816" y="598"/>
                  </a:lnTo>
                  <a:lnTo>
                    <a:pt x="798" y="636"/>
                  </a:lnTo>
                  <a:lnTo>
                    <a:pt x="776" y="670"/>
                  </a:lnTo>
                  <a:lnTo>
                    <a:pt x="752" y="704"/>
                  </a:lnTo>
                  <a:lnTo>
                    <a:pt x="724" y="734"/>
                  </a:lnTo>
                  <a:lnTo>
                    <a:pt x="694" y="762"/>
                  </a:lnTo>
                  <a:lnTo>
                    <a:pt x="662" y="788"/>
                  </a:lnTo>
                  <a:lnTo>
                    <a:pt x="626" y="808"/>
                  </a:lnTo>
                  <a:lnTo>
                    <a:pt x="590" y="826"/>
                  </a:lnTo>
                  <a:lnTo>
                    <a:pt x="550" y="842"/>
                  </a:lnTo>
                  <a:lnTo>
                    <a:pt x="510" y="852"/>
                  </a:lnTo>
                  <a:lnTo>
                    <a:pt x="468" y="858"/>
                  </a:lnTo>
                  <a:lnTo>
                    <a:pt x="424" y="860"/>
                  </a:lnTo>
                  <a:lnTo>
                    <a:pt x="382" y="858"/>
                  </a:lnTo>
                  <a:lnTo>
                    <a:pt x="340" y="852"/>
                  </a:lnTo>
                  <a:lnTo>
                    <a:pt x="298" y="842"/>
                  </a:lnTo>
                  <a:lnTo>
                    <a:pt x="260" y="826"/>
                  </a:lnTo>
                  <a:lnTo>
                    <a:pt x="222" y="808"/>
                  </a:lnTo>
                  <a:lnTo>
                    <a:pt x="188" y="788"/>
                  </a:lnTo>
                  <a:lnTo>
                    <a:pt x="156" y="762"/>
                  </a:lnTo>
                  <a:lnTo>
                    <a:pt x="124" y="734"/>
                  </a:lnTo>
                  <a:lnTo>
                    <a:pt x="98" y="704"/>
                  </a:lnTo>
                  <a:lnTo>
                    <a:pt x="74" y="670"/>
                  </a:lnTo>
                  <a:lnTo>
                    <a:pt x="52" y="636"/>
                  </a:lnTo>
                  <a:lnTo>
                    <a:pt x="34" y="598"/>
                  </a:lnTo>
                  <a:lnTo>
                    <a:pt x="20" y="558"/>
                  </a:lnTo>
                  <a:lnTo>
                    <a:pt x="10" y="516"/>
                  </a:lnTo>
                  <a:lnTo>
                    <a:pt x="2" y="474"/>
                  </a:lnTo>
                  <a:lnTo>
                    <a:pt x="0" y="430"/>
                  </a:lnTo>
                  <a:lnTo>
                    <a:pt x="2" y="386"/>
                  </a:lnTo>
                  <a:lnTo>
                    <a:pt x="10" y="344"/>
                  </a:lnTo>
                  <a:lnTo>
                    <a:pt x="20" y="302"/>
                  </a:lnTo>
                  <a:lnTo>
                    <a:pt x="34" y="264"/>
                  </a:lnTo>
                  <a:lnTo>
                    <a:pt x="52" y="226"/>
                  </a:lnTo>
                  <a:lnTo>
                    <a:pt x="74" y="190"/>
                  </a:lnTo>
                  <a:lnTo>
                    <a:pt x="98" y="156"/>
                  </a:lnTo>
                  <a:lnTo>
                    <a:pt x="124" y="126"/>
                  </a:lnTo>
                  <a:lnTo>
                    <a:pt x="156" y="98"/>
                  </a:lnTo>
                  <a:lnTo>
                    <a:pt x="188" y="74"/>
                  </a:lnTo>
                  <a:lnTo>
                    <a:pt x="222" y="52"/>
                  </a:lnTo>
                  <a:lnTo>
                    <a:pt x="260" y="34"/>
                  </a:lnTo>
                  <a:lnTo>
                    <a:pt x="298" y="20"/>
                  </a:lnTo>
                  <a:lnTo>
                    <a:pt x="340" y="8"/>
                  </a:lnTo>
                  <a:lnTo>
                    <a:pt x="382" y="2"/>
                  </a:lnTo>
                  <a:lnTo>
                    <a:pt x="424" y="0"/>
                  </a:lnTo>
                  <a:close/>
                </a:path>
              </a:pathLst>
            </a:custGeom>
            <a:solidFill>
              <a:srgbClr val="FCC7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198"/>
            <p:cNvSpPr>
              <a:spLocks/>
            </p:cNvSpPr>
            <p:nvPr/>
          </p:nvSpPr>
          <p:spPr bwMode="auto">
            <a:xfrm>
              <a:off x="4056" y="2465"/>
              <a:ext cx="852" cy="864"/>
            </a:xfrm>
            <a:custGeom>
              <a:avLst/>
              <a:gdLst>
                <a:gd name="T0" fmla="*/ 426 w 852"/>
                <a:gd name="T1" fmla="*/ 0 h 864"/>
                <a:gd name="T2" fmla="*/ 512 w 852"/>
                <a:gd name="T3" fmla="*/ 8 h 864"/>
                <a:gd name="T4" fmla="*/ 590 w 852"/>
                <a:gd name="T5" fmla="*/ 34 h 864"/>
                <a:gd name="T6" fmla="*/ 664 w 852"/>
                <a:gd name="T7" fmla="*/ 74 h 864"/>
                <a:gd name="T8" fmla="*/ 726 w 852"/>
                <a:gd name="T9" fmla="*/ 126 h 864"/>
                <a:gd name="T10" fmla="*/ 778 w 852"/>
                <a:gd name="T11" fmla="*/ 190 h 864"/>
                <a:gd name="T12" fmla="*/ 818 w 852"/>
                <a:gd name="T13" fmla="*/ 264 h 864"/>
                <a:gd name="T14" fmla="*/ 842 w 852"/>
                <a:gd name="T15" fmla="*/ 344 h 864"/>
                <a:gd name="T16" fmla="*/ 852 w 852"/>
                <a:gd name="T17" fmla="*/ 432 h 864"/>
                <a:gd name="T18" fmla="*/ 850 w 852"/>
                <a:gd name="T19" fmla="*/ 476 h 864"/>
                <a:gd name="T20" fmla="*/ 832 w 852"/>
                <a:gd name="T21" fmla="*/ 560 h 864"/>
                <a:gd name="T22" fmla="*/ 800 w 852"/>
                <a:gd name="T23" fmla="*/ 638 h 864"/>
                <a:gd name="T24" fmla="*/ 754 w 852"/>
                <a:gd name="T25" fmla="*/ 706 h 864"/>
                <a:gd name="T26" fmla="*/ 696 w 852"/>
                <a:gd name="T27" fmla="*/ 766 h 864"/>
                <a:gd name="T28" fmla="*/ 628 w 852"/>
                <a:gd name="T29" fmla="*/ 812 h 864"/>
                <a:gd name="T30" fmla="*/ 552 w 852"/>
                <a:gd name="T31" fmla="*/ 844 h 864"/>
                <a:gd name="T32" fmla="*/ 468 w 852"/>
                <a:gd name="T33" fmla="*/ 862 h 864"/>
                <a:gd name="T34" fmla="*/ 426 w 852"/>
                <a:gd name="T35" fmla="*/ 864 h 864"/>
                <a:gd name="T36" fmla="*/ 340 w 852"/>
                <a:gd name="T37" fmla="*/ 856 h 864"/>
                <a:gd name="T38" fmla="*/ 260 w 852"/>
                <a:gd name="T39" fmla="*/ 830 h 864"/>
                <a:gd name="T40" fmla="*/ 188 w 852"/>
                <a:gd name="T41" fmla="*/ 790 h 864"/>
                <a:gd name="T42" fmla="*/ 124 w 852"/>
                <a:gd name="T43" fmla="*/ 738 h 864"/>
                <a:gd name="T44" fmla="*/ 72 w 852"/>
                <a:gd name="T45" fmla="*/ 674 h 864"/>
                <a:gd name="T46" fmla="*/ 32 w 852"/>
                <a:gd name="T47" fmla="*/ 600 h 864"/>
                <a:gd name="T48" fmla="*/ 8 w 852"/>
                <a:gd name="T49" fmla="*/ 518 h 864"/>
                <a:gd name="T50" fmla="*/ 0 w 852"/>
                <a:gd name="T51" fmla="*/ 432 h 864"/>
                <a:gd name="T52" fmla="*/ 2 w 852"/>
                <a:gd name="T53" fmla="*/ 388 h 864"/>
                <a:gd name="T54" fmla="*/ 18 w 852"/>
                <a:gd name="T55" fmla="*/ 304 h 864"/>
                <a:gd name="T56" fmla="*/ 50 w 852"/>
                <a:gd name="T57" fmla="*/ 226 h 864"/>
                <a:gd name="T58" fmla="*/ 96 w 852"/>
                <a:gd name="T59" fmla="*/ 156 h 864"/>
                <a:gd name="T60" fmla="*/ 154 w 852"/>
                <a:gd name="T61" fmla="*/ 98 h 864"/>
                <a:gd name="T62" fmla="*/ 222 w 852"/>
                <a:gd name="T63" fmla="*/ 52 h 864"/>
                <a:gd name="T64" fmla="*/ 298 w 852"/>
                <a:gd name="T65" fmla="*/ 18 h 864"/>
                <a:gd name="T66" fmla="*/ 382 w 852"/>
                <a:gd name="T67" fmla="*/ 2 h 864"/>
                <a:gd name="T68" fmla="*/ 426 w 852"/>
                <a:gd name="T69" fmla="*/ 0 h 86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52"/>
                <a:gd name="T106" fmla="*/ 0 h 864"/>
                <a:gd name="T107" fmla="*/ 852 w 852"/>
                <a:gd name="T108" fmla="*/ 864 h 86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52" h="864">
                  <a:moveTo>
                    <a:pt x="426" y="0"/>
                  </a:moveTo>
                  <a:lnTo>
                    <a:pt x="426" y="0"/>
                  </a:lnTo>
                  <a:lnTo>
                    <a:pt x="468" y="2"/>
                  </a:lnTo>
                  <a:lnTo>
                    <a:pt x="512" y="8"/>
                  </a:lnTo>
                  <a:lnTo>
                    <a:pt x="552" y="18"/>
                  </a:lnTo>
                  <a:lnTo>
                    <a:pt x="590" y="34"/>
                  </a:lnTo>
                  <a:lnTo>
                    <a:pt x="628" y="52"/>
                  </a:lnTo>
                  <a:lnTo>
                    <a:pt x="664" y="74"/>
                  </a:lnTo>
                  <a:lnTo>
                    <a:pt x="696" y="98"/>
                  </a:lnTo>
                  <a:lnTo>
                    <a:pt x="726" y="126"/>
                  </a:lnTo>
                  <a:lnTo>
                    <a:pt x="754" y="156"/>
                  </a:lnTo>
                  <a:lnTo>
                    <a:pt x="778" y="190"/>
                  </a:lnTo>
                  <a:lnTo>
                    <a:pt x="800" y="226"/>
                  </a:lnTo>
                  <a:lnTo>
                    <a:pt x="818" y="264"/>
                  </a:lnTo>
                  <a:lnTo>
                    <a:pt x="832" y="304"/>
                  </a:lnTo>
                  <a:lnTo>
                    <a:pt x="842" y="344"/>
                  </a:lnTo>
                  <a:lnTo>
                    <a:pt x="850" y="388"/>
                  </a:lnTo>
                  <a:lnTo>
                    <a:pt x="852" y="432"/>
                  </a:lnTo>
                  <a:lnTo>
                    <a:pt x="850" y="476"/>
                  </a:lnTo>
                  <a:lnTo>
                    <a:pt x="842" y="518"/>
                  </a:lnTo>
                  <a:lnTo>
                    <a:pt x="832" y="560"/>
                  </a:lnTo>
                  <a:lnTo>
                    <a:pt x="818" y="600"/>
                  </a:lnTo>
                  <a:lnTo>
                    <a:pt x="800" y="638"/>
                  </a:lnTo>
                  <a:lnTo>
                    <a:pt x="778" y="674"/>
                  </a:lnTo>
                  <a:lnTo>
                    <a:pt x="754" y="706"/>
                  </a:lnTo>
                  <a:lnTo>
                    <a:pt x="726" y="738"/>
                  </a:lnTo>
                  <a:lnTo>
                    <a:pt x="696" y="766"/>
                  </a:lnTo>
                  <a:lnTo>
                    <a:pt x="664" y="790"/>
                  </a:lnTo>
                  <a:lnTo>
                    <a:pt x="628" y="812"/>
                  </a:lnTo>
                  <a:lnTo>
                    <a:pt x="590" y="830"/>
                  </a:lnTo>
                  <a:lnTo>
                    <a:pt x="552" y="844"/>
                  </a:lnTo>
                  <a:lnTo>
                    <a:pt x="512" y="856"/>
                  </a:lnTo>
                  <a:lnTo>
                    <a:pt x="468" y="862"/>
                  </a:lnTo>
                  <a:lnTo>
                    <a:pt x="426" y="864"/>
                  </a:lnTo>
                  <a:lnTo>
                    <a:pt x="382" y="862"/>
                  </a:lnTo>
                  <a:lnTo>
                    <a:pt x="340" y="856"/>
                  </a:lnTo>
                  <a:lnTo>
                    <a:pt x="298" y="844"/>
                  </a:lnTo>
                  <a:lnTo>
                    <a:pt x="260" y="830"/>
                  </a:lnTo>
                  <a:lnTo>
                    <a:pt x="222" y="812"/>
                  </a:lnTo>
                  <a:lnTo>
                    <a:pt x="188" y="790"/>
                  </a:lnTo>
                  <a:lnTo>
                    <a:pt x="154" y="766"/>
                  </a:lnTo>
                  <a:lnTo>
                    <a:pt x="124" y="738"/>
                  </a:lnTo>
                  <a:lnTo>
                    <a:pt x="96" y="706"/>
                  </a:lnTo>
                  <a:lnTo>
                    <a:pt x="72" y="674"/>
                  </a:lnTo>
                  <a:lnTo>
                    <a:pt x="50" y="638"/>
                  </a:lnTo>
                  <a:lnTo>
                    <a:pt x="32" y="600"/>
                  </a:lnTo>
                  <a:lnTo>
                    <a:pt x="18" y="560"/>
                  </a:lnTo>
                  <a:lnTo>
                    <a:pt x="8" y="518"/>
                  </a:lnTo>
                  <a:lnTo>
                    <a:pt x="2" y="476"/>
                  </a:lnTo>
                  <a:lnTo>
                    <a:pt x="0" y="432"/>
                  </a:lnTo>
                  <a:lnTo>
                    <a:pt x="2" y="388"/>
                  </a:lnTo>
                  <a:lnTo>
                    <a:pt x="8" y="344"/>
                  </a:lnTo>
                  <a:lnTo>
                    <a:pt x="18" y="304"/>
                  </a:lnTo>
                  <a:lnTo>
                    <a:pt x="32" y="264"/>
                  </a:lnTo>
                  <a:lnTo>
                    <a:pt x="50" y="226"/>
                  </a:lnTo>
                  <a:lnTo>
                    <a:pt x="72" y="190"/>
                  </a:lnTo>
                  <a:lnTo>
                    <a:pt x="96" y="156"/>
                  </a:lnTo>
                  <a:lnTo>
                    <a:pt x="124" y="126"/>
                  </a:lnTo>
                  <a:lnTo>
                    <a:pt x="154" y="98"/>
                  </a:lnTo>
                  <a:lnTo>
                    <a:pt x="188" y="74"/>
                  </a:lnTo>
                  <a:lnTo>
                    <a:pt x="222" y="52"/>
                  </a:lnTo>
                  <a:lnTo>
                    <a:pt x="260" y="34"/>
                  </a:lnTo>
                  <a:lnTo>
                    <a:pt x="298" y="18"/>
                  </a:lnTo>
                  <a:lnTo>
                    <a:pt x="340" y="8"/>
                  </a:lnTo>
                  <a:lnTo>
                    <a:pt x="382" y="2"/>
                  </a:lnTo>
                  <a:lnTo>
                    <a:pt x="426" y="0"/>
                  </a:lnTo>
                  <a:close/>
                </a:path>
              </a:pathLst>
            </a:custGeom>
            <a:solidFill>
              <a:srgbClr val="FCC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199"/>
            <p:cNvSpPr>
              <a:spLocks/>
            </p:cNvSpPr>
            <p:nvPr/>
          </p:nvSpPr>
          <p:spPr bwMode="auto">
            <a:xfrm>
              <a:off x="4052" y="2461"/>
              <a:ext cx="856" cy="870"/>
            </a:xfrm>
            <a:custGeom>
              <a:avLst/>
              <a:gdLst>
                <a:gd name="T0" fmla="*/ 428 w 856"/>
                <a:gd name="T1" fmla="*/ 0 h 870"/>
                <a:gd name="T2" fmla="*/ 514 w 856"/>
                <a:gd name="T3" fmla="*/ 10 h 870"/>
                <a:gd name="T4" fmla="*/ 594 w 856"/>
                <a:gd name="T5" fmla="*/ 34 h 870"/>
                <a:gd name="T6" fmla="*/ 668 w 856"/>
                <a:gd name="T7" fmla="*/ 74 h 870"/>
                <a:gd name="T8" fmla="*/ 730 w 856"/>
                <a:gd name="T9" fmla="*/ 128 h 870"/>
                <a:gd name="T10" fmla="*/ 782 w 856"/>
                <a:gd name="T11" fmla="*/ 192 h 870"/>
                <a:gd name="T12" fmla="*/ 822 w 856"/>
                <a:gd name="T13" fmla="*/ 266 h 870"/>
                <a:gd name="T14" fmla="*/ 848 w 856"/>
                <a:gd name="T15" fmla="*/ 348 h 870"/>
                <a:gd name="T16" fmla="*/ 856 w 856"/>
                <a:gd name="T17" fmla="*/ 436 h 870"/>
                <a:gd name="T18" fmla="*/ 854 w 856"/>
                <a:gd name="T19" fmla="*/ 480 h 870"/>
                <a:gd name="T20" fmla="*/ 838 w 856"/>
                <a:gd name="T21" fmla="*/ 564 h 870"/>
                <a:gd name="T22" fmla="*/ 804 w 856"/>
                <a:gd name="T23" fmla="*/ 642 h 870"/>
                <a:gd name="T24" fmla="*/ 758 w 856"/>
                <a:gd name="T25" fmla="*/ 712 h 870"/>
                <a:gd name="T26" fmla="*/ 700 w 856"/>
                <a:gd name="T27" fmla="*/ 770 h 870"/>
                <a:gd name="T28" fmla="*/ 632 w 856"/>
                <a:gd name="T29" fmla="*/ 816 h 870"/>
                <a:gd name="T30" fmla="*/ 556 w 856"/>
                <a:gd name="T31" fmla="*/ 850 h 870"/>
                <a:gd name="T32" fmla="*/ 472 w 856"/>
                <a:gd name="T33" fmla="*/ 868 h 870"/>
                <a:gd name="T34" fmla="*/ 428 w 856"/>
                <a:gd name="T35" fmla="*/ 870 h 870"/>
                <a:gd name="T36" fmla="*/ 342 w 856"/>
                <a:gd name="T37" fmla="*/ 860 h 870"/>
                <a:gd name="T38" fmla="*/ 262 w 856"/>
                <a:gd name="T39" fmla="*/ 836 h 870"/>
                <a:gd name="T40" fmla="*/ 188 w 856"/>
                <a:gd name="T41" fmla="*/ 796 h 870"/>
                <a:gd name="T42" fmla="*/ 126 w 856"/>
                <a:gd name="T43" fmla="*/ 742 h 870"/>
                <a:gd name="T44" fmla="*/ 74 w 856"/>
                <a:gd name="T45" fmla="*/ 678 h 870"/>
                <a:gd name="T46" fmla="*/ 34 w 856"/>
                <a:gd name="T47" fmla="*/ 604 h 870"/>
                <a:gd name="T48" fmla="*/ 8 w 856"/>
                <a:gd name="T49" fmla="*/ 522 h 870"/>
                <a:gd name="T50" fmla="*/ 0 w 856"/>
                <a:gd name="T51" fmla="*/ 436 h 870"/>
                <a:gd name="T52" fmla="*/ 2 w 856"/>
                <a:gd name="T53" fmla="*/ 390 h 870"/>
                <a:gd name="T54" fmla="*/ 20 w 856"/>
                <a:gd name="T55" fmla="*/ 306 h 870"/>
                <a:gd name="T56" fmla="*/ 52 w 856"/>
                <a:gd name="T57" fmla="*/ 228 h 870"/>
                <a:gd name="T58" fmla="*/ 98 w 856"/>
                <a:gd name="T59" fmla="*/ 158 h 870"/>
                <a:gd name="T60" fmla="*/ 156 w 856"/>
                <a:gd name="T61" fmla="*/ 100 h 870"/>
                <a:gd name="T62" fmla="*/ 224 w 856"/>
                <a:gd name="T63" fmla="*/ 54 h 870"/>
                <a:gd name="T64" fmla="*/ 300 w 856"/>
                <a:gd name="T65" fmla="*/ 20 h 870"/>
                <a:gd name="T66" fmla="*/ 384 w 856"/>
                <a:gd name="T67" fmla="*/ 2 h 870"/>
                <a:gd name="T68" fmla="*/ 428 w 856"/>
                <a:gd name="T69" fmla="*/ 0 h 8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56"/>
                <a:gd name="T106" fmla="*/ 0 h 870"/>
                <a:gd name="T107" fmla="*/ 856 w 856"/>
                <a:gd name="T108" fmla="*/ 870 h 8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56" h="870">
                  <a:moveTo>
                    <a:pt x="428" y="0"/>
                  </a:moveTo>
                  <a:lnTo>
                    <a:pt x="428" y="0"/>
                  </a:lnTo>
                  <a:lnTo>
                    <a:pt x="472" y="2"/>
                  </a:lnTo>
                  <a:lnTo>
                    <a:pt x="514" y="10"/>
                  </a:lnTo>
                  <a:lnTo>
                    <a:pt x="556" y="20"/>
                  </a:lnTo>
                  <a:lnTo>
                    <a:pt x="594" y="34"/>
                  </a:lnTo>
                  <a:lnTo>
                    <a:pt x="632" y="54"/>
                  </a:lnTo>
                  <a:lnTo>
                    <a:pt x="668" y="74"/>
                  </a:lnTo>
                  <a:lnTo>
                    <a:pt x="700" y="100"/>
                  </a:lnTo>
                  <a:lnTo>
                    <a:pt x="730" y="128"/>
                  </a:lnTo>
                  <a:lnTo>
                    <a:pt x="758" y="158"/>
                  </a:lnTo>
                  <a:lnTo>
                    <a:pt x="782" y="192"/>
                  </a:lnTo>
                  <a:lnTo>
                    <a:pt x="804" y="228"/>
                  </a:lnTo>
                  <a:lnTo>
                    <a:pt x="822" y="266"/>
                  </a:lnTo>
                  <a:lnTo>
                    <a:pt x="838" y="306"/>
                  </a:lnTo>
                  <a:lnTo>
                    <a:pt x="848" y="348"/>
                  </a:lnTo>
                  <a:lnTo>
                    <a:pt x="854" y="390"/>
                  </a:lnTo>
                  <a:lnTo>
                    <a:pt x="856" y="436"/>
                  </a:lnTo>
                  <a:lnTo>
                    <a:pt x="854" y="480"/>
                  </a:lnTo>
                  <a:lnTo>
                    <a:pt x="848" y="522"/>
                  </a:lnTo>
                  <a:lnTo>
                    <a:pt x="838" y="564"/>
                  </a:lnTo>
                  <a:lnTo>
                    <a:pt x="822" y="604"/>
                  </a:lnTo>
                  <a:lnTo>
                    <a:pt x="804" y="642"/>
                  </a:lnTo>
                  <a:lnTo>
                    <a:pt x="782" y="678"/>
                  </a:lnTo>
                  <a:lnTo>
                    <a:pt x="758" y="712"/>
                  </a:lnTo>
                  <a:lnTo>
                    <a:pt x="730" y="742"/>
                  </a:lnTo>
                  <a:lnTo>
                    <a:pt x="700" y="770"/>
                  </a:lnTo>
                  <a:lnTo>
                    <a:pt x="668" y="796"/>
                  </a:lnTo>
                  <a:lnTo>
                    <a:pt x="632" y="816"/>
                  </a:lnTo>
                  <a:lnTo>
                    <a:pt x="594" y="836"/>
                  </a:lnTo>
                  <a:lnTo>
                    <a:pt x="556" y="850"/>
                  </a:lnTo>
                  <a:lnTo>
                    <a:pt x="514" y="860"/>
                  </a:lnTo>
                  <a:lnTo>
                    <a:pt x="472" y="868"/>
                  </a:lnTo>
                  <a:lnTo>
                    <a:pt x="428" y="870"/>
                  </a:lnTo>
                  <a:lnTo>
                    <a:pt x="384" y="868"/>
                  </a:lnTo>
                  <a:lnTo>
                    <a:pt x="342" y="860"/>
                  </a:lnTo>
                  <a:lnTo>
                    <a:pt x="300" y="850"/>
                  </a:lnTo>
                  <a:lnTo>
                    <a:pt x="262" y="836"/>
                  </a:lnTo>
                  <a:lnTo>
                    <a:pt x="224" y="816"/>
                  </a:lnTo>
                  <a:lnTo>
                    <a:pt x="188" y="796"/>
                  </a:lnTo>
                  <a:lnTo>
                    <a:pt x="156" y="770"/>
                  </a:lnTo>
                  <a:lnTo>
                    <a:pt x="126" y="742"/>
                  </a:lnTo>
                  <a:lnTo>
                    <a:pt x="98" y="712"/>
                  </a:lnTo>
                  <a:lnTo>
                    <a:pt x="74" y="678"/>
                  </a:lnTo>
                  <a:lnTo>
                    <a:pt x="52" y="642"/>
                  </a:lnTo>
                  <a:lnTo>
                    <a:pt x="34" y="604"/>
                  </a:lnTo>
                  <a:lnTo>
                    <a:pt x="20" y="564"/>
                  </a:lnTo>
                  <a:lnTo>
                    <a:pt x="8" y="522"/>
                  </a:lnTo>
                  <a:lnTo>
                    <a:pt x="2" y="480"/>
                  </a:lnTo>
                  <a:lnTo>
                    <a:pt x="0" y="436"/>
                  </a:lnTo>
                  <a:lnTo>
                    <a:pt x="2" y="390"/>
                  </a:lnTo>
                  <a:lnTo>
                    <a:pt x="8" y="348"/>
                  </a:lnTo>
                  <a:lnTo>
                    <a:pt x="20" y="306"/>
                  </a:lnTo>
                  <a:lnTo>
                    <a:pt x="34" y="266"/>
                  </a:lnTo>
                  <a:lnTo>
                    <a:pt x="52" y="228"/>
                  </a:lnTo>
                  <a:lnTo>
                    <a:pt x="74" y="192"/>
                  </a:lnTo>
                  <a:lnTo>
                    <a:pt x="98" y="158"/>
                  </a:lnTo>
                  <a:lnTo>
                    <a:pt x="126" y="128"/>
                  </a:lnTo>
                  <a:lnTo>
                    <a:pt x="156" y="100"/>
                  </a:lnTo>
                  <a:lnTo>
                    <a:pt x="188" y="74"/>
                  </a:lnTo>
                  <a:lnTo>
                    <a:pt x="224" y="54"/>
                  </a:lnTo>
                  <a:lnTo>
                    <a:pt x="262" y="34"/>
                  </a:lnTo>
                  <a:lnTo>
                    <a:pt x="300" y="20"/>
                  </a:lnTo>
                  <a:lnTo>
                    <a:pt x="342" y="10"/>
                  </a:lnTo>
                  <a:lnTo>
                    <a:pt x="384" y="2"/>
                  </a:lnTo>
                  <a:lnTo>
                    <a:pt x="428" y="0"/>
                  </a:lnTo>
                  <a:close/>
                </a:path>
              </a:pathLst>
            </a:custGeom>
            <a:solidFill>
              <a:srgbClr val="FAB6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00"/>
            <p:cNvSpPr>
              <a:spLocks/>
            </p:cNvSpPr>
            <p:nvPr/>
          </p:nvSpPr>
          <p:spPr bwMode="auto">
            <a:xfrm>
              <a:off x="4048" y="2459"/>
              <a:ext cx="862" cy="872"/>
            </a:xfrm>
            <a:custGeom>
              <a:avLst/>
              <a:gdLst>
                <a:gd name="T0" fmla="*/ 430 w 862"/>
                <a:gd name="T1" fmla="*/ 0 h 872"/>
                <a:gd name="T2" fmla="*/ 518 w 862"/>
                <a:gd name="T3" fmla="*/ 8 h 872"/>
                <a:gd name="T4" fmla="*/ 598 w 862"/>
                <a:gd name="T5" fmla="*/ 34 h 872"/>
                <a:gd name="T6" fmla="*/ 672 w 862"/>
                <a:gd name="T7" fmla="*/ 74 h 872"/>
                <a:gd name="T8" fmla="*/ 734 w 862"/>
                <a:gd name="T9" fmla="*/ 128 h 872"/>
                <a:gd name="T10" fmla="*/ 788 w 862"/>
                <a:gd name="T11" fmla="*/ 192 h 872"/>
                <a:gd name="T12" fmla="*/ 828 w 862"/>
                <a:gd name="T13" fmla="*/ 266 h 872"/>
                <a:gd name="T14" fmla="*/ 852 w 862"/>
                <a:gd name="T15" fmla="*/ 348 h 872"/>
                <a:gd name="T16" fmla="*/ 862 w 862"/>
                <a:gd name="T17" fmla="*/ 436 h 872"/>
                <a:gd name="T18" fmla="*/ 858 w 862"/>
                <a:gd name="T19" fmla="*/ 480 h 872"/>
                <a:gd name="T20" fmla="*/ 842 w 862"/>
                <a:gd name="T21" fmla="*/ 566 h 872"/>
                <a:gd name="T22" fmla="*/ 810 w 862"/>
                <a:gd name="T23" fmla="*/ 644 h 872"/>
                <a:gd name="T24" fmla="*/ 762 w 862"/>
                <a:gd name="T25" fmla="*/ 714 h 872"/>
                <a:gd name="T26" fmla="*/ 704 w 862"/>
                <a:gd name="T27" fmla="*/ 774 h 872"/>
                <a:gd name="T28" fmla="*/ 636 w 862"/>
                <a:gd name="T29" fmla="*/ 820 h 872"/>
                <a:gd name="T30" fmla="*/ 558 w 862"/>
                <a:gd name="T31" fmla="*/ 854 h 872"/>
                <a:gd name="T32" fmla="*/ 474 w 862"/>
                <a:gd name="T33" fmla="*/ 870 h 872"/>
                <a:gd name="T34" fmla="*/ 430 w 862"/>
                <a:gd name="T35" fmla="*/ 872 h 872"/>
                <a:gd name="T36" fmla="*/ 344 w 862"/>
                <a:gd name="T37" fmla="*/ 864 h 872"/>
                <a:gd name="T38" fmla="*/ 264 w 862"/>
                <a:gd name="T39" fmla="*/ 838 h 872"/>
                <a:gd name="T40" fmla="*/ 190 w 862"/>
                <a:gd name="T41" fmla="*/ 798 h 872"/>
                <a:gd name="T42" fmla="*/ 126 w 862"/>
                <a:gd name="T43" fmla="*/ 744 h 872"/>
                <a:gd name="T44" fmla="*/ 74 w 862"/>
                <a:gd name="T45" fmla="*/ 680 h 872"/>
                <a:gd name="T46" fmla="*/ 34 w 862"/>
                <a:gd name="T47" fmla="*/ 606 h 872"/>
                <a:gd name="T48" fmla="*/ 10 w 862"/>
                <a:gd name="T49" fmla="*/ 524 h 872"/>
                <a:gd name="T50" fmla="*/ 0 w 862"/>
                <a:gd name="T51" fmla="*/ 436 h 872"/>
                <a:gd name="T52" fmla="*/ 2 w 862"/>
                <a:gd name="T53" fmla="*/ 392 h 872"/>
                <a:gd name="T54" fmla="*/ 20 w 862"/>
                <a:gd name="T55" fmla="*/ 306 h 872"/>
                <a:gd name="T56" fmla="*/ 52 w 862"/>
                <a:gd name="T57" fmla="*/ 228 h 872"/>
                <a:gd name="T58" fmla="*/ 98 w 862"/>
                <a:gd name="T59" fmla="*/ 158 h 872"/>
                <a:gd name="T60" fmla="*/ 158 w 862"/>
                <a:gd name="T61" fmla="*/ 100 h 872"/>
                <a:gd name="T62" fmla="*/ 226 w 862"/>
                <a:gd name="T63" fmla="*/ 52 h 872"/>
                <a:gd name="T64" fmla="*/ 302 w 862"/>
                <a:gd name="T65" fmla="*/ 20 h 872"/>
                <a:gd name="T66" fmla="*/ 386 w 862"/>
                <a:gd name="T67" fmla="*/ 2 h 872"/>
                <a:gd name="T68" fmla="*/ 430 w 862"/>
                <a:gd name="T69" fmla="*/ 0 h 8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2"/>
                <a:gd name="T106" fmla="*/ 0 h 872"/>
                <a:gd name="T107" fmla="*/ 862 w 862"/>
                <a:gd name="T108" fmla="*/ 872 h 8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2" h="872">
                  <a:moveTo>
                    <a:pt x="430" y="0"/>
                  </a:moveTo>
                  <a:lnTo>
                    <a:pt x="430" y="0"/>
                  </a:lnTo>
                  <a:lnTo>
                    <a:pt x="474" y="2"/>
                  </a:lnTo>
                  <a:lnTo>
                    <a:pt x="518" y="8"/>
                  </a:lnTo>
                  <a:lnTo>
                    <a:pt x="558" y="20"/>
                  </a:lnTo>
                  <a:lnTo>
                    <a:pt x="598" y="34"/>
                  </a:lnTo>
                  <a:lnTo>
                    <a:pt x="636" y="52"/>
                  </a:lnTo>
                  <a:lnTo>
                    <a:pt x="672" y="74"/>
                  </a:lnTo>
                  <a:lnTo>
                    <a:pt x="704" y="100"/>
                  </a:lnTo>
                  <a:lnTo>
                    <a:pt x="734" y="128"/>
                  </a:lnTo>
                  <a:lnTo>
                    <a:pt x="762" y="158"/>
                  </a:lnTo>
                  <a:lnTo>
                    <a:pt x="788" y="192"/>
                  </a:lnTo>
                  <a:lnTo>
                    <a:pt x="810" y="228"/>
                  </a:lnTo>
                  <a:lnTo>
                    <a:pt x="828" y="266"/>
                  </a:lnTo>
                  <a:lnTo>
                    <a:pt x="842" y="306"/>
                  </a:lnTo>
                  <a:lnTo>
                    <a:pt x="852" y="348"/>
                  </a:lnTo>
                  <a:lnTo>
                    <a:pt x="858" y="392"/>
                  </a:lnTo>
                  <a:lnTo>
                    <a:pt x="862" y="436"/>
                  </a:lnTo>
                  <a:lnTo>
                    <a:pt x="858" y="480"/>
                  </a:lnTo>
                  <a:lnTo>
                    <a:pt x="852" y="524"/>
                  </a:lnTo>
                  <a:lnTo>
                    <a:pt x="842" y="566"/>
                  </a:lnTo>
                  <a:lnTo>
                    <a:pt x="828" y="606"/>
                  </a:lnTo>
                  <a:lnTo>
                    <a:pt x="810" y="644"/>
                  </a:lnTo>
                  <a:lnTo>
                    <a:pt x="788" y="680"/>
                  </a:lnTo>
                  <a:lnTo>
                    <a:pt x="762" y="714"/>
                  </a:lnTo>
                  <a:lnTo>
                    <a:pt x="734" y="744"/>
                  </a:lnTo>
                  <a:lnTo>
                    <a:pt x="704" y="774"/>
                  </a:lnTo>
                  <a:lnTo>
                    <a:pt x="672" y="798"/>
                  </a:lnTo>
                  <a:lnTo>
                    <a:pt x="636" y="820"/>
                  </a:lnTo>
                  <a:lnTo>
                    <a:pt x="598" y="838"/>
                  </a:lnTo>
                  <a:lnTo>
                    <a:pt x="558" y="854"/>
                  </a:lnTo>
                  <a:lnTo>
                    <a:pt x="518" y="864"/>
                  </a:lnTo>
                  <a:lnTo>
                    <a:pt x="474" y="870"/>
                  </a:lnTo>
                  <a:lnTo>
                    <a:pt x="430" y="872"/>
                  </a:lnTo>
                  <a:lnTo>
                    <a:pt x="386" y="870"/>
                  </a:lnTo>
                  <a:lnTo>
                    <a:pt x="344" y="864"/>
                  </a:lnTo>
                  <a:lnTo>
                    <a:pt x="302" y="854"/>
                  </a:lnTo>
                  <a:lnTo>
                    <a:pt x="264" y="838"/>
                  </a:lnTo>
                  <a:lnTo>
                    <a:pt x="226" y="820"/>
                  </a:lnTo>
                  <a:lnTo>
                    <a:pt x="190" y="798"/>
                  </a:lnTo>
                  <a:lnTo>
                    <a:pt x="158" y="774"/>
                  </a:lnTo>
                  <a:lnTo>
                    <a:pt x="126" y="744"/>
                  </a:lnTo>
                  <a:lnTo>
                    <a:pt x="98" y="714"/>
                  </a:lnTo>
                  <a:lnTo>
                    <a:pt x="74" y="680"/>
                  </a:lnTo>
                  <a:lnTo>
                    <a:pt x="52" y="644"/>
                  </a:lnTo>
                  <a:lnTo>
                    <a:pt x="34" y="606"/>
                  </a:lnTo>
                  <a:lnTo>
                    <a:pt x="20" y="566"/>
                  </a:lnTo>
                  <a:lnTo>
                    <a:pt x="10" y="524"/>
                  </a:lnTo>
                  <a:lnTo>
                    <a:pt x="2" y="480"/>
                  </a:lnTo>
                  <a:lnTo>
                    <a:pt x="0" y="436"/>
                  </a:lnTo>
                  <a:lnTo>
                    <a:pt x="2" y="392"/>
                  </a:lnTo>
                  <a:lnTo>
                    <a:pt x="10" y="348"/>
                  </a:lnTo>
                  <a:lnTo>
                    <a:pt x="20" y="306"/>
                  </a:lnTo>
                  <a:lnTo>
                    <a:pt x="34" y="266"/>
                  </a:lnTo>
                  <a:lnTo>
                    <a:pt x="52" y="228"/>
                  </a:lnTo>
                  <a:lnTo>
                    <a:pt x="74" y="192"/>
                  </a:lnTo>
                  <a:lnTo>
                    <a:pt x="98" y="158"/>
                  </a:lnTo>
                  <a:lnTo>
                    <a:pt x="126" y="128"/>
                  </a:lnTo>
                  <a:lnTo>
                    <a:pt x="158" y="100"/>
                  </a:lnTo>
                  <a:lnTo>
                    <a:pt x="190" y="74"/>
                  </a:lnTo>
                  <a:lnTo>
                    <a:pt x="226" y="52"/>
                  </a:lnTo>
                  <a:lnTo>
                    <a:pt x="264" y="34"/>
                  </a:lnTo>
                  <a:lnTo>
                    <a:pt x="302" y="20"/>
                  </a:lnTo>
                  <a:lnTo>
                    <a:pt x="344" y="8"/>
                  </a:lnTo>
                  <a:lnTo>
                    <a:pt x="386" y="2"/>
                  </a:lnTo>
                  <a:lnTo>
                    <a:pt x="430" y="0"/>
                  </a:lnTo>
                  <a:close/>
                </a:path>
              </a:pathLst>
            </a:custGeom>
            <a:solidFill>
              <a:srgbClr val="FAB1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01"/>
            <p:cNvSpPr>
              <a:spLocks/>
            </p:cNvSpPr>
            <p:nvPr/>
          </p:nvSpPr>
          <p:spPr bwMode="auto">
            <a:xfrm>
              <a:off x="4044" y="2455"/>
              <a:ext cx="866" cy="878"/>
            </a:xfrm>
            <a:custGeom>
              <a:avLst/>
              <a:gdLst>
                <a:gd name="T0" fmla="*/ 434 w 866"/>
                <a:gd name="T1" fmla="*/ 0 h 878"/>
                <a:gd name="T2" fmla="*/ 520 w 866"/>
                <a:gd name="T3" fmla="*/ 10 h 878"/>
                <a:gd name="T4" fmla="*/ 602 w 866"/>
                <a:gd name="T5" fmla="*/ 36 h 878"/>
                <a:gd name="T6" fmla="*/ 674 w 866"/>
                <a:gd name="T7" fmla="*/ 76 h 878"/>
                <a:gd name="T8" fmla="*/ 740 w 866"/>
                <a:gd name="T9" fmla="*/ 130 h 878"/>
                <a:gd name="T10" fmla="*/ 792 w 866"/>
                <a:gd name="T11" fmla="*/ 194 h 878"/>
                <a:gd name="T12" fmla="*/ 832 w 866"/>
                <a:gd name="T13" fmla="*/ 270 h 878"/>
                <a:gd name="T14" fmla="*/ 858 w 866"/>
                <a:gd name="T15" fmla="*/ 352 h 878"/>
                <a:gd name="T16" fmla="*/ 866 w 866"/>
                <a:gd name="T17" fmla="*/ 440 h 878"/>
                <a:gd name="T18" fmla="*/ 864 w 866"/>
                <a:gd name="T19" fmla="*/ 484 h 878"/>
                <a:gd name="T20" fmla="*/ 846 w 866"/>
                <a:gd name="T21" fmla="*/ 570 h 878"/>
                <a:gd name="T22" fmla="*/ 814 w 866"/>
                <a:gd name="T23" fmla="*/ 648 h 878"/>
                <a:gd name="T24" fmla="*/ 766 w 866"/>
                <a:gd name="T25" fmla="*/ 718 h 878"/>
                <a:gd name="T26" fmla="*/ 708 w 866"/>
                <a:gd name="T27" fmla="*/ 778 h 878"/>
                <a:gd name="T28" fmla="*/ 640 w 866"/>
                <a:gd name="T29" fmla="*/ 826 h 878"/>
                <a:gd name="T30" fmla="*/ 562 w 866"/>
                <a:gd name="T31" fmla="*/ 858 h 878"/>
                <a:gd name="T32" fmla="*/ 478 w 866"/>
                <a:gd name="T33" fmla="*/ 876 h 878"/>
                <a:gd name="T34" fmla="*/ 434 w 866"/>
                <a:gd name="T35" fmla="*/ 878 h 878"/>
                <a:gd name="T36" fmla="*/ 346 w 866"/>
                <a:gd name="T37" fmla="*/ 870 h 878"/>
                <a:gd name="T38" fmla="*/ 266 w 866"/>
                <a:gd name="T39" fmla="*/ 844 h 878"/>
                <a:gd name="T40" fmla="*/ 192 w 866"/>
                <a:gd name="T41" fmla="*/ 804 h 878"/>
                <a:gd name="T42" fmla="*/ 128 w 866"/>
                <a:gd name="T43" fmla="*/ 750 h 878"/>
                <a:gd name="T44" fmla="*/ 76 w 866"/>
                <a:gd name="T45" fmla="*/ 684 h 878"/>
                <a:gd name="T46" fmla="*/ 36 w 866"/>
                <a:gd name="T47" fmla="*/ 610 h 878"/>
                <a:gd name="T48" fmla="*/ 10 w 866"/>
                <a:gd name="T49" fmla="*/ 528 h 878"/>
                <a:gd name="T50" fmla="*/ 0 w 866"/>
                <a:gd name="T51" fmla="*/ 440 h 878"/>
                <a:gd name="T52" fmla="*/ 4 w 866"/>
                <a:gd name="T53" fmla="*/ 394 h 878"/>
                <a:gd name="T54" fmla="*/ 20 w 866"/>
                <a:gd name="T55" fmla="*/ 310 h 878"/>
                <a:gd name="T56" fmla="*/ 54 w 866"/>
                <a:gd name="T57" fmla="*/ 230 h 878"/>
                <a:gd name="T58" fmla="*/ 100 w 866"/>
                <a:gd name="T59" fmla="*/ 160 h 878"/>
                <a:gd name="T60" fmla="*/ 158 w 866"/>
                <a:gd name="T61" fmla="*/ 102 h 878"/>
                <a:gd name="T62" fmla="*/ 228 w 866"/>
                <a:gd name="T63" fmla="*/ 54 h 878"/>
                <a:gd name="T64" fmla="*/ 306 w 866"/>
                <a:gd name="T65" fmla="*/ 20 h 878"/>
                <a:gd name="T66" fmla="*/ 390 w 866"/>
                <a:gd name="T67" fmla="*/ 4 h 878"/>
                <a:gd name="T68" fmla="*/ 434 w 866"/>
                <a:gd name="T69" fmla="*/ 0 h 8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6"/>
                <a:gd name="T106" fmla="*/ 0 h 878"/>
                <a:gd name="T107" fmla="*/ 866 w 866"/>
                <a:gd name="T108" fmla="*/ 878 h 8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6" h="878">
                  <a:moveTo>
                    <a:pt x="434" y="0"/>
                  </a:moveTo>
                  <a:lnTo>
                    <a:pt x="434" y="0"/>
                  </a:lnTo>
                  <a:lnTo>
                    <a:pt x="478" y="4"/>
                  </a:lnTo>
                  <a:lnTo>
                    <a:pt x="520" y="10"/>
                  </a:lnTo>
                  <a:lnTo>
                    <a:pt x="562" y="20"/>
                  </a:lnTo>
                  <a:lnTo>
                    <a:pt x="602" y="36"/>
                  </a:lnTo>
                  <a:lnTo>
                    <a:pt x="640" y="54"/>
                  </a:lnTo>
                  <a:lnTo>
                    <a:pt x="674" y="76"/>
                  </a:lnTo>
                  <a:lnTo>
                    <a:pt x="708" y="102"/>
                  </a:lnTo>
                  <a:lnTo>
                    <a:pt x="740" y="130"/>
                  </a:lnTo>
                  <a:lnTo>
                    <a:pt x="766" y="160"/>
                  </a:lnTo>
                  <a:lnTo>
                    <a:pt x="792" y="194"/>
                  </a:lnTo>
                  <a:lnTo>
                    <a:pt x="814" y="230"/>
                  </a:lnTo>
                  <a:lnTo>
                    <a:pt x="832" y="270"/>
                  </a:lnTo>
                  <a:lnTo>
                    <a:pt x="846" y="310"/>
                  </a:lnTo>
                  <a:lnTo>
                    <a:pt x="858" y="352"/>
                  </a:lnTo>
                  <a:lnTo>
                    <a:pt x="864" y="394"/>
                  </a:lnTo>
                  <a:lnTo>
                    <a:pt x="866" y="440"/>
                  </a:lnTo>
                  <a:lnTo>
                    <a:pt x="864" y="484"/>
                  </a:lnTo>
                  <a:lnTo>
                    <a:pt x="858" y="528"/>
                  </a:lnTo>
                  <a:lnTo>
                    <a:pt x="846" y="570"/>
                  </a:lnTo>
                  <a:lnTo>
                    <a:pt x="832" y="610"/>
                  </a:lnTo>
                  <a:lnTo>
                    <a:pt x="814" y="648"/>
                  </a:lnTo>
                  <a:lnTo>
                    <a:pt x="792" y="684"/>
                  </a:lnTo>
                  <a:lnTo>
                    <a:pt x="766" y="718"/>
                  </a:lnTo>
                  <a:lnTo>
                    <a:pt x="740" y="750"/>
                  </a:lnTo>
                  <a:lnTo>
                    <a:pt x="708" y="778"/>
                  </a:lnTo>
                  <a:lnTo>
                    <a:pt x="674" y="804"/>
                  </a:lnTo>
                  <a:lnTo>
                    <a:pt x="640" y="826"/>
                  </a:lnTo>
                  <a:lnTo>
                    <a:pt x="602" y="844"/>
                  </a:lnTo>
                  <a:lnTo>
                    <a:pt x="562" y="858"/>
                  </a:lnTo>
                  <a:lnTo>
                    <a:pt x="520" y="870"/>
                  </a:lnTo>
                  <a:lnTo>
                    <a:pt x="478" y="876"/>
                  </a:lnTo>
                  <a:lnTo>
                    <a:pt x="434" y="878"/>
                  </a:lnTo>
                  <a:lnTo>
                    <a:pt x="390" y="876"/>
                  </a:lnTo>
                  <a:lnTo>
                    <a:pt x="346" y="870"/>
                  </a:lnTo>
                  <a:lnTo>
                    <a:pt x="306" y="858"/>
                  </a:lnTo>
                  <a:lnTo>
                    <a:pt x="266" y="844"/>
                  </a:lnTo>
                  <a:lnTo>
                    <a:pt x="228" y="826"/>
                  </a:lnTo>
                  <a:lnTo>
                    <a:pt x="192" y="804"/>
                  </a:lnTo>
                  <a:lnTo>
                    <a:pt x="158" y="778"/>
                  </a:lnTo>
                  <a:lnTo>
                    <a:pt x="128" y="750"/>
                  </a:lnTo>
                  <a:lnTo>
                    <a:pt x="100" y="718"/>
                  </a:lnTo>
                  <a:lnTo>
                    <a:pt x="76" y="684"/>
                  </a:lnTo>
                  <a:lnTo>
                    <a:pt x="54" y="648"/>
                  </a:lnTo>
                  <a:lnTo>
                    <a:pt x="36" y="610"/>
                  </a:lnTo>
                  <a:lnTo>
                    <a:pt x="20" y="570"/>
                  </a:lnTo>
                  <a:lnTo>
                    <a:pt x="10" y="528"/>
                  </a:lnTo>
                  <a:lnTo>
                    <a:pt x="4" y="484"/>
                  </a:lnTo>
                  <a:lnTo>
                    <a:pt x="0" y="440"/>
                  </a:lnTo>
                  <a:lnTo>
                    <a:pt x="4" y="394"/>
                  </a:lnTo>
                  <a:lnTo>
                    <a:pt x="10" y="352"/>
                  </a:lnTo>
                  <a:lnTo>
                    <a:pt x="20" y="310"/>
                  </a:lnTo>
                  <a:lnTo>
                    <a:pt x="36" y="270"/>
                  </a:lnTo>
                  <a:lnTo>
                    <a:pt x="54" y="230"/>
                  </a:lnTo>
                  <a:lnTo>
                    <a:pt x="76" y="194"/>
                  </a:lnTo>
                  <a:lnTo>
                    <a:pt x="100" y="160"/>
                  </a:lnTo>
                  <a:lnTo>
                    <a:pt x="128" y="130"/>
                  </a:lnTo>
                  <a:lnTo>
                    <a:pt x="158" y="102"/>
                  </a:lnTo>
                  <a:lnTo>
                    <a:pt x="192" y="76"/>
                  </a:lnTo>
                  <a:lnTo>
                    <a:pt x="228" y="54"/>
                  </a:lnTo>
                  <a:lnTo>
                    <a:pt x="266" y="36"/>
                  </a:lnTo>
                  <a:lnTo>
                    <a:pt x="306" y="20"/>
                  </a:lnTo>
                  <a:lnTo>
                    <a:pt x="346" y="10"/>
                  </a:lnTo>
                  <a:lnTo>
                    <a:pt x="390" y="4"/>
                  </a:lnTo>
                  <a:lnTo>
                    <a:pt x="434" y="0"/>
                  </a:lnTo>
                  <a:close/>
                </a:path>
              </a:pathLst>
            </a:custGeom>
            <a:solidFill>
              <a:srgbClr val="FAAA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02"/>
            <p:cNvSpPr>
              <a:spLocks/>
            </p:cNvSpPr>
            <p:nvPr/>
          </p:nvSpPr>
          <p:spPr bwMode="auto">
            <a:xfrm>
              <a:off x="4042" y="2453"/>
              <a:ext cx="868" cy="882"/>
            </a:xfrm>
            <a:custGeom>
              <a:avLst/>
              <a:gdLst>
                <a:gd name="T0" fmla="*/ 434 w 868"/>
                <a:gd name="T1" fmla="*/ 0 h 882"/>
                <a:gd name="T2" fmla="*/ 522 w 868"/>
                <a:gd name="T3" fmla="*/ 10 h 882"/>
                <a:gd name="T4" fmla="*/ 604 w 868"/>
                <a:gd name="T5" fmla="*/ 34 h 882"/>
                <a:gd name="T6" fmla="*/ 676 w 868"/>
                <a:gd name="T7" fmla="*/ 76 h 882"/>
                <a:gd name="T8" fmla="*/ 742 w 868"/>
                <a:gd name="T9" fmla="*/ 130 h 882"/>
                <a:gd name="T10" fmla="*/ 794 w 868"/>
                <a:gd name="T11" fmla="*/ 194 h 882"/>
                <a:gd name="T12" fmla="*/ 834 w 868"/>
                <a:gd name="T13" fmla="*/ 270 h 882"/>
                <a:gd name="T14" fmla="*/ 860 w 868"/>
                <a:gd name="T15" fmla="*/ 352 h 882"/>
                <a:gd name="T16" fmla="*/ 868 w 868"/>
                <a:gd name="T17" fmla="*/ 440 h 882"/>
                <a:gd name="T18" fmla="*/ 866 w 868"/>
                <a:gd name="T19" fmla="*/ 486 h 882"/>
                <a:gd name="T20" fmla="*/ 850 w 868"/>
                <a:gd name="T21" fmla="*/ 572 h 882"/>
                <a:gd name="T22" fmla="*/ 816 w 868"/>
                <a:gd name="T23" fmla="*/ 650 h 882"/>
                <a:gd name="T24" fmla="*/ 770 w 868"/>
                <a:gd name="T25" fmla="*/ 722 h 882"/>
                <a:gd name="T26" fmla="*/ 710 w 868"/>
                <a:gd name="T27" fmla="*/ 780 h 882"/>
                <a:gd name="T28" fmla="*/ 640 w 868"/>
                <a:gd name="T29" fmla="*/ 828 h 882"/>
                <a:gd name="T30" fmla="*/ 564 w 868"/>
                <a:gd name="T31" fmla="*/ 862 h 882"/>
                <a:gd name="T32" fmla="*/ 478 w 868"/>
                <a:gd name="T33" fmla="*/ 880 h 882"/>
                <a:gd name="T34" fmla="*/ 434 w 868"/>
                <a:gd name="T35" fmla="*/ 882 h 882"/>
                <a:gd name="T36" fmla="*/ 346 w 868"/>
                <a:gd name="T37" fmla="*/ 872 h 882"/>
                <a:gd name="T38" fmla="*/ 266 w 868"/>
                <a:gd name="T39" fmla="*/ 848 h 882"/>
                <a:gd name="T40" fmla="*/ 192 w 868"/>
                <a:gd name="T41" fmla="*/ 806 h 882"/>
                <a:gd name="T42" fmla="*/ 128 w 868"/>
                <a:gd name="T43" fmla="*/ 752 h 882"/>
                <a:gd name="T44" fmla="*/ 74 w 868"/>
                <a:gd name="T45" fmla="*/ 688 h 882"/>
                <a:gd name="T46" fmla="*/ 34 w 868"/>
                <a:gd name="T47" fmla="*/ 612 h 882"/>
                <a:gd name="T48" fmla="*/ 8 w 868"/>
                <a:gd name="T49" fmla="*/ 530 h 882"/>
                <a:gd name="T50" fmla="*/ 0 w 868"/>
                <a:gd name="T51" fmla="*/ 440 h 882"/>
                <a:gd name="T52" fmla="*/ 2 w 868"/>
                <a:gd name="T53" fmla="*/ 396 h 882"/>
                <a:gd name="T54" fmla="*/ 20 w 868"/>
                <a:gd name="T55" fmla="*/ 310 h 882"/>
                <a:gd name="T56" fmla="*/ 52 w 868"/>
                <a:gd name="T57" fmla="*/ 232 h 882"/>
                <a:gd name="T58" fmla="*/ 100 w 868"/>
                <a:gd name="T59" fmla="*/ 160 h 882"/>
                <a:gd name="T60" fmla="*/ 158 w 868"/>
                <a:gd name="T61" fmla="*/ 102 h 882"/>
                <a:gd name="T62" fmla="*/ 228 w 868"/>
                <a:gd name="T63" fmla="*/ 54 h 882"/>
                <a:gd name="T64" fmla="*/ 306 w 868"/>
                <a:gd name="T65" fmla="*/ 20 h 882"/>
                <a:gd name="T66" fmla="*/ 390 w 868"/>
                <a:gd name="T67" fmla="*/ 2 h 882"/>
                <a:gd name="T68" fmla="*/ 434 w 868"/>
                <a:gd name="T69" fmla="*/ 0 h 88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8"/>
                <a:gd name="T106" fmla="*/ 0 h 882"/>
                <a:gd name="T107" fmla="*/ 868 w 868"/>
                <a:gd name="T108" fmla="*/ 882 h 88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8" h="882">
                  <a:moveTo>
                    <a:pt x="434" y="0"/>
                  </a:moveTo>
                  <a:lnTo>
                    <a:pt x="434" y="0"/>
                  </a:lnTo>
                  <a:lnTo>
                    <a:pt x="478" y="2"/>
                  </a:lnTo>
                  <a:lnTo>
                    <a:pt x="522" y="10"/>
                  </a:lnTo>
                  <a:lnTo>
                    <a:pt x="564" y="20"/>
                  </a:lnTo>
                  <a:lnTo>
                    <a:pt x="604" y="34"/>
                  </a:lnTo>
                  <a:lnTo>
                    <a:pt x="640" y="54"/>
                  </a:lnTo>
                  <a:lnTo>
                    <a:pt x="676" y="76"/>
                  </a:lnTo>
                  <a:lnTo>
                    <a:pt x="710" y="102"/>
                  </a:lnTo>
                  <a:lnTo>
                    <a:pt x="742" y="130"/>
                  </a:lnTo>
                  <a:lnTo>
                    <a:pt x="770" y="160"/>
                  </a:lnTo>
                  <a:lnTo>
                    <a:pt x="794" y="194"/>
                  </a:lnTo>
                  <a:lnTo>
                    <a:pt x="816" y="232"/>
                  </a:lnTo>
                  <a:lnTo>
                    <a:pt x="834" y="270"/>
                  </a:lnTo>
                  <a:lnTo>
                    <a:pt x="850" y="310"/>
                  </a:lnTo>
                  <a:lnTo>
                    <a:pt x="860" y="352"/>
                  </a:lnTo>
                  <a:lnTo>
                    <a:pt x="866" y="396"/>
                  </a:lnTo>
                  <a:lnTo>
                    <a:pt x="868" y="440"/>
                  </a:lnTo>
                  <a:lnTo>
                    <a:pt x="866" y="486"/>
                  </a:lnTo>
                  <a:lnTo>
                    <a:pt x="860" y="530"/>
                  </a:lnTo>
                  <a:lnTo>
                    <a:pt x="850" y="572"/>
                  </a:lnTo>
                  <a:lnTo>
                    <a:pt x="834" y="612"/>
                  </a:lnTo>
                  <a:lnTo>
                    <a:pt x="816" y="650"/>
                  </a:lnTo>
                  <a:lnTo>
                    <a:pt x="794" y="688"/>
                  </a:lnTo>
                  <a:lnTo>
                    <a:pt x="770" y="722"/>
                  </a:lnTo>
                  <a:lnTo>
                    <a:pt x="742" y="752"/>
                  </a:lnTo>
                  <a:lnTo>
                    <a:pt x="710" y="780"/>
                  </a:lnTo>
                  <a:lnTo>
                    <a:pt x="676" y="806"/>
                  </a:lnTo>
                  <a:lnTo>
                    <a:pt x="640" y="828"/>
                  </a:lnTo>
                  <a:lnTo>
                    <a:pt x="604" y="848"/>
                  </a:lnTo>
                  <a:lnTo>
                    <a:pt x="564" y="862"/>
                  </a:lnTo>
                  <a:lnTo>
                    <a:pt x="522" y="872"/>
                  </a:lnTo>
                  <a:lnTo>
                    <a:pt x="478" y="880"/>
                  </a:lnTo>
                  <a:lnTo>
                    <a:pt x="434" y="882"/>
                  </a:lnTo>
                  <a:lnTo>
                    <a:pt x="390" y="880"/>
                  </a:lnTo>
                  <a:lnTo>
                    <a:pt x="346" y="872"/>
                  </a:lnTo>
                  <a:lnTo>
                    <a:pt x="306" y="862"/>
                  </a:lnTo>
                  <a:lnTo>
                    <a:pt x="266" y="848"/>
                  </a:lnTo>
                  <a:lnTo>
                    <a:pt x="228" y="828"/>
                  </a:lnTo>
                  <a:lnTo>
                    <a:pt x="192" y="806"/>
                  </a:lnTo>
                  <a:lnTo>
                    <a:pt x="158" y="780"/>
                  </a:lnTo>
                  <a:lnTo>
                    <a:pt x="128" y="752"/>
                  </a:lnTo>
                  <a:lnTo>
                    <a:pt x="100" y="722"/>
                  </a:lnTo>
                  <a:lnTo>
                    <a:pt x="74" y="688"/>
                  </a:lnTo>
                  <a:lnTo>
                    <a:pt x="52" y="650"/>
                  </a:lnTo>
                  <a:lnTo>
                    <a:pt x="34" y="612"/>
                  </a:lnTo>
                  <a:lnTo>
                    <a:pt x="20" y="572"/>
                  </a:lnTo>
                  <a:lnTo>
                    <a:pt x="8" y="530"/>
                  </a:lnTo>
                  <a:lnTo>
                    <a:pt x="2" y="486"/>
                  </a:lnTo>
                  <a:lnTo>
                    <a:pt x="0" y="440"/>
                  </a:lnTo>
                  <a:lnTo>
                    <a:pt x="2" y="396"/>
                  </a:lnTo>
                  <a:lnTo>
                    <a:pt x="8" y="352"/>
                  </a:lnTo>
                  <a:lnTo>
                    <a:pt x="20" y="310"/>
                  </a:lnTo>
                  <a:lnTo>
                    <a:pt x="34" y="270"/>
                  </a:lnTo>
                  <a:lnTo>
                    <a:pt x="52" y="232"/>
                  </a:lnTo>
                  <a:lnTo>
                    <a:pt x="74" y="194"/>
                  </a:lnTo>
                  <a:lnTo>
                    <a:pt x="100" y="160"/>
                  </a:lnTo>
                  <a:lnTo>
                    <a:pt x="128" y="130"/>
                  </a:lnTo>
                  <a:lnTo>
                    <a:pt x="158" y="102"/>
                  </a:lnTo>
                  <a:lnTo>
                    <a:pt x="192" y="76"/>
                  </a:lnTo>
                  <a:lnTo>
                    <a:pt x="228" y="54"/>
                  </a:lnTo>
                  <a:lnTo>
                    <a:pt x="266" y="34"/>
                  </a:lnTo>
                  <a:lnTo>
                    <a:pt x="306" y="20"/>
                  </a:lnTo>
                  <a:lnTo>
                    <a:pt x="346" y="10"/>
                  </a:lnTo>
                  <a:lnTo>
                    <a:pt x="390" y="2"/>
                  </a:lnTo>
                  <a:lnTo>
                    <a:pt x="434" y="0"/>
                  </a:lnTo>
                  <a:close/>
                </a:path>
              </a:pathLst>
            </a:custGeom>
            <a:solidFill>
              <a:srgbClr val="FAA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03"/>
            <p:cNvSpPr>
              <a:spLocks/>
            </p:cNvSpPr>
            <p:nvPr/>
          </p:nvSpPr>
          <p:spPr bwMode="auto">
            <a:xfrm>
              <a:off x="4038" y="2451"/>
              <a:ext cx="874" cy="886"/>
            </a:xfrm>
            <a:custGeom>
              <a:avLst/>
              <a:gdLst>
                <a:gd name="T0" fmla="*/ 436 w 874"/>
                <a:gd name="T1" fmla="*/ 0 h 886"/>
                <a:gd name="T2" fmla="*/ 524 w 874"/>
                <a:gd name="T3" fmla="*/ 8 h 886"/>
                <a:gd name="T4" fmla="*/ 606 w 874"/>
                <a:gd name="T5" fmla="*/ 34 h 886"/>
                <a:gd name="T6" fmla="*/ 680 w 874"/>
                <a:gd name="T7" fmla="*/ 76 h 886"/>
                <a:gd name="T8" fmla="*/ 746 w 874"/>
                <a:gd name="T9" fmla="*/ 130 h 886"/>
                <a:gd name="T10" fmla="*/ 798 w 874"/>
                <a:gd name="T11" fmla="*/ 194 h 886"/>
                <a:gd name="T12" fmla="*/ 840 w 874"/>
                <a:gd name="T13" fmla="*/ 270 h 886"/>
                <a:gd name="T14" fmla="*/ 864 w 874"/>
                <a:gd name="T15" fmla="*/ 354 h 886"/>
                <a:gd name="T16" fmla="*/ 874 w 874"/>
                <a:gd name="T17" fmla="*/ 442 h 886"/>
                <a:gd name="T18" fmla="*/ 872 w 874"/>
                <a:gd name="T19" fmla="*/ 488 h 886"/>
                <a:gd name="T20" fmla="*/ 854 w 874"/>
                <a:gd name="T21" fmla="*/ 574 h 886"/>
                <a:gd name="T22" fmla="*/ 820 w 874"/>
                <a:gd name="T23" fmla="*/ 654 h 886"/>
                <a:gd name="T24" fmla="*/ 774 w 874"/>
                <a:gd name="T25" fmla="*/ 724 h 886"/>
                <a:gd name="T26" fmla="*/ 714 w 874"/>
                <a:gd name="T27" fmla="*/ 784 h 886"/>
                <a:gd name="T28" fmla="*/ 644 w 874"/>
                <a:gd name="T29" fmla="*/ 832 h 886"/>
                <a:gd name="T30" fmla="*/ 566 w 874"/>
                <a:gd name="T31" fmla="*/ 866 h 886"/>
                <a:gd name="T32" fmla="*/ 482 w 874"/>
                <a:gd name="T33" fmla="*/ 882 h 886"/>
                <a:gd name="T34" fmla="*/ 436 w 874"/>
                <a:gd name="T35" fmla="*/ 886 h 886"/>
                <a:gd name="T36" fmla="*/ 350 w 874"/>
                <a:gd name="T37" fmla="*/ 876 h 886"/>
                <a:gd name="T38" fmla="*/ 268 w 874"/>
                <a:gd name="T39" fmla="*/ 850 h 886"/>
                <a:gd name="T40" fmla="*/ 194 w 874"/>
                <a:gd name="T41" fmla="*/ 810 h 886"/>
                <a:gd name="T42" fmla="*/ 128 w 874"/>
                <a:gd name="T43" fmla="*/ 756 h 886"/>
                <a:gd name="T44" fmla="*/ 76 w 874"/>
                <a:gd name="T45" fmla="*/ 690 h 886"/>
                <a:gd name="T46" fmla="*/ 34 w 874"/>
                <a:gd name="T47" fmla="*/ 614 h 886"/>
                <a:gd name="T48" fmla="*/ 10 w 874"/>
                <a:gd name="T49" fmla="*/ 532 h 886"/>
                <a:gd name="T50" fmla="*/ 0 w 874"/>
                <a:gd name="T51" fmla="*/ 442 h 886"/>
                <a:gd name="T52" fmla="*/ 2 w 874"/>
                <a:gd name="T53" fmla="*/ 398 h 886"/>
                <a:gd name="T54" fmla="*/ 20 w 874"/>
                <a:gd name="T55" fmla="*/ 310 h 886"/>
                <a:gd name="T56" fmla="*/ 54 w 874"/>
                <a:gd name="T57" fmla="*/ 232 h 886"/>
                <a:gd name="T58" fmla="*/ 100 w 874"/>
                <a:gd name="T59" fmla="*/ 160 h 886"/>
                <a:gd name="T60" fmla="*/ 160 w 874"/>
                <a:gd name="T61" fmla="*/ 100 h 886"/>
                <a:gd name="T62" fmla="*/ 230 w 874"/>
                <a:gd name="T63" fmla="*/ 52 h 886"/>
                <a:gd name="T64" fmla="*/ 308 w 874"/>
                <a:gd name="T65" fmla="*/ 20 h 886"/>
                <a:gd name="T66" fmla="*/ 392 w 874"/>
                <a:gd name="T67" fmla="*/ 2 h 886"/>
                <a:gd name="T68" fmla="*/ 436 w 874"/>
                <a:gd name="T69" fmla="*/ 0 h 8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4"/>
                <a:gd name="T106" fmla="*/ 0 h 886"/>
                <a:gd name="T107" fmla="*/ 874 w 874"/>
                <a:gd name="T108" fmla="*/ 886 h 88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4" h="886">
                  <a:moveTo>
                    <a:pt x="436" y="0"/>
                  </a:moveTo>
                  <a:lnTo>
                    <a:pt x="436" y="0"/>
                  </a:lnTo>
                  <a:lnTo>
                    <a:pt x="482" y="2"/>
                  </a:lnTo>
                  <a:lnTo>
                    <a:pt x="524" y="8"/>
                  </a:lnTo>
                  <a:lnTo>
                    <a:pt x="566" y="20"/>
                  </a:lnTo>
                  <a:lnTo>
                    <a:pt x="606" y="34"/>
                  </a:lnTo>
                  <a:lnTo>
                    <a:pt x="644" y="52"/>
                  </a:lnTo>
                  <a:lnTo>
                    <a:pt x="680" y="76"/>
                  </a:lnTo>
                  <a:lnTo>
                    <a:pt x="714" y="100"/>
                  </a:lnTo>
                  <a:lnTo>
                    <a:pt x="746" y="130"/>
                  </a:lnTo>
                  <a:lnTo>
                    <a:pt x="774" y="160"/>
                  </a:lnTo>
                  <a:lnTo>
                    <a:pt x="798" y="194"/>
                  </a:lnTo>
                  <a:lnTo>
                    <a:pt x="820" y="232"/>
                  </a:lnTo>
                  <a:lnTo>
                    <a:pt x="840" y="270"/>
                  </a:lnTo>
                  <a:lnTo>
                    <a:pt x="854" y="310"/>
                  </a:lnTo>
                  <a:lnTo>
                    <a:pt x="864" y="354"/>
                  </a:lnTo>
                  <a:lnTo>
                    <a:pt x="872" y="398"/>
                  </a:lnTo>
                  <a:lnTo>
                    <a:pt x="874" y="442"/>
                  </a:lnTo>
                  <a:lnTo>
                    <a:pt x="872" y="488"/>
                  </a:lnTo>
                  <a:lnTo>
                    <a:pt x="864" y="532"/>
                  </a:lnTo>
                  <a:lnTo>
                    <a:pt x="854" y="574"/>
                  </a:lnTo>
                  <a:lnTo>
                    <a:pt x="840" y="614"/>
                  </a:lnTo>
                  <a:lnTo>
                    <a:pt x="820" y="654"/>
                  </a:lnTo>
                  <a:lnTo>
                    <a:pt x="798" y="690"/>
                  </a:lnTo>
                  <a:lnTo>
                    <a:pt x="774" y="724"/>
                  </a:lnTo>
                  <a:lnTo>
                    <a:pt x="746" y="756"/>
                  </a:lnTo>
                  <a:lnTo>
                    <a:pt x="714" y="784"/>
                  </a:lnTo>
                  <a:lnTo>
                    <a:pt x="680" y="810"/>
                  </a:lnTo>
                  <a:lnTo>
                    <a:pt x="644" y="832"/>
                  </a:lnTo>
                  <a:lnTo>
                    <a:pt x="606" y="850"/>
                  </a:lnTo>
                  <a:lnTo>
                    <a:pt x="566" y="866"/>
                  </a:lnTo>
                  <a:lnTo>
                    <a:pt x="524" y="876"/>
                  </a:lnTo>
                  <a:lnTo>
                    <a:pt x="482" y="882"/>
                  </a:lnTo>
                  <a:lnTo>
                    <a:pt x="436" y="886"/>
                  </a:lnTo>
                  <a:lnTo>
                    <a:pt x="392" y="882"/>
                  </a:lnTo>
                  <a:lnTo>
                    <a:pt x="350" y="876"/>
                  </a:lnTo>
                  <a:lnTo>
                    <a:pt x="308" y="866"/>
                  </a:lnTo>
                  <a:lnTo>
                    <a:pt x="268" y="850"/>
                  </a:lnTo>
                  <a:lnTo>
                    <a:pt x="230" y="832"/>
                  </a:lnTo>
                  <a:lnTo>
                    <a:pt x="194" y="810"/>
                  </a:lnTo>
                  <a:lnTo>
                    <a:pt x="160" y="784"/>
                  </a:lnTo>
                  <a:lnTo>
                    <a:pt x="128" y="756"/>
                  </a:lnTo>
                  <a:lnTo>
                    <a:pt x="100" y="724"/>
                  </a:lnTo>
                  <a:lnTo>
                    <a:pt x="76" y="690"/>
                  </a:lnTo>
                  <a:lnTo>
                    <a:pt x="54" y="654"/>
                  </a:lnTo>
                  <a:lnTo>
                    <a:pt x="34" y="614"/>
                  </a:lnTo>
                  <a:lnTo>
                    <a:pt x="20" y="574"/>
                  </a:lnTo>
                  <a:lnTo>
                    <a:pt x="10" y="532"/>
                  </a:lnTo>
                  <a:lnTo>
                    <a:pt x="2" y="488"/>
                  </a:lnTo>
                  <a:lnTo>
                    <a:pt x="0" y="442"/>
                  </a:lnTo>
                  <a:lnTo>
                    <a:pt x="2" y="398"/>
                  </a:lnTo>
                  <a:lnTo>
                    <a:pt x="10" y="354"/>
                  </a:lnTo>
                  <a:lnTo>
                    <a:pt x="20" y="310"/>
                  </a:lnTo>
                  <a:lnTo>
                    <a:pt x="34" y="270"/>
                  </a:lnTo>
                  <a:lnTo>
                    <a:pt x="54" y="232"/>
                  </a:lnTo>
                  <a:lnTo>
                    <a:pt x="76" y="194"/>
                  </a:lnTo>
                  <a:lnTo>
                    <a:pt x="100" y="160"/>
                  </a:lnTo>
                  <a:lnTo>
                    <a:pt x="128" y="130"/>
                  </a:lnTo>
                  <a:lnTo>
                    <a:pt x="160" y="100"/>
                  </a:lnTo>
                  <a:lnTo>
                    <a:pt x="194" y="76"/>
                  </a:lnTo>
                  <a:lnTo>
                    <a:pt x="230" y="52"/>
                  </a:lnTo>
                  <a:lnTo>
                    <a:pt x="268" y="34"/>
                  </a:lnTo>
                  <a:lnTo>
                    <a:pt x="308" y="20"/>
                  </a:lnTo>
                  <a:lnTo>
                    <a:pt x="350" y="8"/>
                  </a:lnTo>
                  <a:lnTo>
                    <a:pt x="392" y="2"/>
                  </a:lnTo>
                  <a:lnTo>
                    <a:pt x="436" y="0"/>
                  </a:lnTo>
                  <a:close/>
                </a:path>
              </a:pathLst>
            </a:custGeom>
            <a:solidFill>
              <a:srgbClr val="FA9E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04"/>
            <p:cNvSpPr>
              <a:spLocks/>
            </p:cNvSpPr>
            <p:nvPr/>
          </p:nvSpPr>
          <p:spPr bwMode="auto">
            <a:xfrm>
              <a:off x="4034" y="2447"/>
              <a:ext cx="878" cy="890"/>
            </a:xfrm>
            <a:custGeom>
              <a:avLst/>
              <a:gdLst>
                <a:gd name="T0" fmla="*/ 440 w 878"/>
                <a:gd name="T1" fmla="*/ 0 h 890"/>
                <a:gd name="T2" fmla="*/ 528 w 878"/>
                <a:gd name="T3" fmla="*/ 10 h 890"/>
                <a:gd name="T4" fmla="*/ 610 w 878"/>
                <a:gd name="T5" fmla="*/ 36 h 890"/>
                <a:gd name="T6" fmla="*/ 684 w 878"/>
                <a:gd name="T7" fmla="*/ 76 h 890"/>
                <a:gd name="T8" fmla="*/ 750 w 878"/>
                <a:gd name="T9" fmla="*/ 132 h 890"/>
                <a:gd name="T10" fmla="*/ 804 w 878"/>
                <a:gd name="T11" fmla="*/ 198 h 890"/>
                <a:gd name="T12" fmla="*/ 844 w 878"/>
                <a:gd name="T13" fmla="*/ 272 h 890"/>
                <a:gd name="T14" fmla="*/ 870 w 878"/>
                <a:gd name="T15" fmla="*/ 356 h 890"/>
                <a:gd name="T16" fmla="*/ 878 w 878"/>
                <a:gd name="T17" fmla="*/ 446 h 890"/>
                <a:gd name="T18" fmla="*/ 876 w 878"/>
                <a:gd name="T19" fmla="*/ 492 h 890"/>
                <a:gd name="T20" fmla="*/ 858 w 878"/>
                <a:gd name="T21" fmla="*/ 578 h 890"/>
                <a:gd name="T22" fmla="*/ 826 w 878"/>
                <a:gd name="T23" fmla="*/ 658 h 890"/>
                <a:gd name="T24" fmla="*/ 778 w 878"/>
                <a:gd name="T25" fmla="*/ 728 h 890"/>
                <a:gd name="T26" fmla="*/ 718 w 878"/>
                <a:gd name="T27" fmla="*/ 788 h 890"/>
                <a:gd name="T28" fmla="*/ 648 w 878"/>
                <a:gd name="T29" fmla="*/ 836 h 890"/>
                <a:gd name="T30" fmla="*/ 570 w 878"/>
                <a:gd name="T31" fmla="*/ 870 h 890"/>
                <a:gd name="T32" fmla="*/ 484 w 878"/>
                <a:gd name="T33" fmla="*/ 888 h 890"/>
                <a:gd name="T34" fmla="*/ 440 w 878"/>
                <a:gd name="T35" fmla="*/ 890 h 890"/>
                <a:gd name="T36" fmla="*/ 352 w 878"/>
                <a:gd name="T37" fmla="*/ 882 h 890"/>
                <a:gd name="T38" fmla="*/ 270 w 878"/>
                <a:gd name="T39" fmla="*/ 856 h 890"/>
                <a:gd name="T40" fmla="*/ 194 w 878"/>
                <a:gd name="T41" fmla="*/ 814 h 890"/>
                <a:gd name="T42" fmla="*/ 130 w 878"/>
                <a:gd name="T43" fmla="*/ 760 h 890"/>
                <a:gd name="T44" fmla="*/ 76 w 878"/>
                <a:gd name="T45" fmla="*/ 694 h 890"/>
                <a:gd name="T46" fmla="*/ 36 w 878"/>
                <a:gd name="T47" fmla="*/ 618 h 890"/>
                <a:gd name="T48" fmla="*/ 10 w 878"/>
                <a:gd name="T49" fmla="*/ 536 h 890"/>
                <a:gd name="T50" fmla="*/ 0 w 878"/>
                <a:gd name="T51" fmla="*/ 446 h 890"/>
                <a:gd name="T52" fmla="*/ 4 w 878"/>
                <a:gd name="T53" fmla="*/ 400 h 890"/>
                <a:gd name="T54" fmla="*/ 20 w 878"/>
                <a:gd name="T55" fmla="*/ 314 h 890"/>
                <a:gd name="T56" fmla="*/ 54 w 878"/>
                <a:gd name="T57" fmla="*/ 234 h 890"/>
                <a:gd name="T58" fmla="*/ 102 w 878"/>
                <a:gd name="T59" fmla="*/ 162 h 890"/>
                <a:gd name="T60" fmla="*/ 160 w 878"/>
                <a:gd name="T61" fmla="*/ 102 h 890"/>
                <a:gd name="T62" fmla="*/ 230 w 878"/>
                <a:gd name="T63" fmla="*/ 54 h 890"/>
                <a:gd name="T64" fmla="*/ 310 w 878"/>
                <a:gd name="T65" fmla="*/ 20 h 890"/>
                <a:gd name="T66" fmla="*/ 394 w 878"/>
                <a:gd name="T67" fmla="*/ 2 h 890"/>
                <a:gd name="T68" fmla="*/ 440 w 878"/>
                <a:gd name="T69" fmla="*/ 0 h 8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8"/>
                <a:gd name="T106" fmla="*/ 0 h 890"/>
                <a:gd name="T107" fmla="*/ 878 w 878"/>
                <a:gd name="T108" fmla="*/ 890 h 8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8" h="890">
                  <a:moveTo>
                    <a:pt x="440" y="0"/>
                  </a:moveTo>
                  <a:lnTo>
                    <a:pt x="440" y="0"/>
                  </a:lnTo>
                  <a:lnTo>
                    <a:pt x="484" y="2"/>
                  </a:lnTo>
                  <a:lnTo>
                    <a:pt x="528" y="10"/>
                  </a:lnTo>
                  <a:lnTo>
                    <a:pt x="570" y="20"/>
                  </a:lnTo>
                  <a:lnTo>
                    <a:pt x="610" y="36"/>
                  </a:lnTo>
                  <a:lnTo>
                    <a:pt x="648" y="54"/>
                  </a:lnTo>
                  <a:lnTo>
                    <a:pt x="684" y="76"/>
                  </a:lnTo>
                  <a:lnTo>
                    <a:pt x="718" y="102"/>
                  </a:lnTo>
                  <a:lnTo>
                    <a:pt x="750" y="132"/>
                  </a:lnTo>
                  <a:lnTo>
                    <a:pt x="778" y="162"/>
                  </a:lnTo>
                  <a:lnTo>
                    <a:pt x="804" y="198"/>
                  </a:lnTo>
                  <a:lnTo>
                    <a:pt x="826" y="234"/>
                  </a:lnTo>
                  <a:lnTo>
                    <a:pt x="844" y="272"/>
                  </a:lnTo>
                  <a:lnTo>
                    <a:pt x="858" y="314"/>
                  </a:lnTo>
                  <a:lnTo>
                    <a:pt x="870" y="356"/>
                  </a:lnTo>
                  <a:lnTo>
                    <a:pt x="876" y="400"/>
                  </a:lnTo>
                  <a:lnTo>
                    <a:pt x="878" y="446"/>
                  </a:lnTo>
                  <a:lnTo>
                    <a:pt x="876" y="492"/>
                  </a:lnTo>
                  <a:lnTo>
                    <a:pt x="870" y="536"/>
                  </a:lnTo>
                  <a:lnTo>
                    <a:pt x="858" y="578"/>
                  </a:lnTo>
                  <a:lnTo>
                    <a:pt x="844" y="618"/>
                  </a:lnTo>
                  <a:lnTo>
                    <a:pt x="826" y="658"/>
                  </a:lnTo>
                  <a:lnTo>
                    <a:pt x="804" y="694"/>
                  </a:lnTo>
                  <a:lnTo>
                    <a:pt x="778" y="728"/>
                  </a:lnTo>
                  <a:lnTo>
                    <a:pt x="750" y="760"/>
                  </a:lnTo>
                  <a:lnTo>
                    <a:pt x="718" y="788"/>
                  </a:lnTo>
                  <a:lnTo>
                    <a:pt x="684" y="814"/>
                  </a:lnTo>
                  <a:lnTo>
                    <a:pt x="648" y="836"/>
                  </a:lnTo>
                  <a:lnTo>
                    <a:pt x="610" y="856"/>
                  </a:lnTo>
                  <a:lnTo>
                    <a:pt x="570" y="870"/>
                  </a:lnTo>
                  <a:lnTo>
                    <a:pt x="528" y="882"/>
                  </a:lnTo>
                  <a:lnTo>
                    <a:pt x="484" y="888"/>
                  </a:lnTo>
                  <a:lnTo>
                    <a:pt x="440" y="890"/>
                  </a:lnTo>
                  <a:lnTo>
                    <a:pt x="394" y="888"/>
                  </a:lnTo>
                  <a:lnTo>
                    <a:pt x="352" y="882"/>
                  </a:lnTo>
                  <a:lnTo>
                    <a:pt x="310" y="870"/>
                  </a:lnTo>
                  <a:lnTo>
                    <a:pt x="270" y="856"/>
                  </a:lnTo>
                  <a:lnTo>
                    <a:pt x="230" y="836"/>
                  </a:lnTo>
                  <a:lnTo>
                    <a:pt x="194" y="814"/>
                  </a:lnTo>
                  <a:lnTo>
                    <a:pt x="160" y="788"/>
                  </a:lnTo>
                  <a:lnTo>
                    <a:pt x="130" y="760"/>
                  </a:lnTo>
                  <a:lnTo>
                    <a:pt x="102" y="728"/>
                  </a:lnTo>
                  <a:lnTo>
                    <a:pt x="76" y="694"/>
                  </a:lnTo>
                  <a:lnTo>
                    <a:pt x="54" y="658"/>
                  </a:lnTo>
                  <a:lnTo>
                    <a:pt x="36" y="618"/>
                  </a:lnTo>
                  <a:lnTo>
                    <a:pt x="20" y="578"/>
                  </a:lnTo>
                  <a:lnTo>
                    <a:pt x="10" y="536"/>
                  </a:lnTo>
                  <a:lnTo>
                    <a:pt x="4" y="492"/>
                  </a:lnTo>
                  <a:lnTo>
                    <a:pt x="0" y="446"/>
                  </a:lnTo>
                  <a:lnTo>
                    <a:pt x="4" y="400"/>
                  </a:lnTo>
                  <a:lnTo>
                    <a:pt x="10" y="356"/>
                  </a:lnTo>
                  <a:lnTo>
                    <a:pt x="20" y="314"/>
                  </a:lnTo>
                  <a:lnTo>
                    <a:pt x="36" y="272"/>
                  </a:lnTo>
                  <a:lnTo>
                    <a:pt x="54" y="234"/>
                  </a:lnTo>
                  <a:lnTo>
                    <a:pt x="76" y="198"/>
                  </a:lnTo>
                  <a:lnTo>
                    <a:pt x="102" y="162"/>
                  </a:lnTo>
                  <a:lnTo>
                    <a:pt x="130" y="132"/>
                  </a:lnTo>
                  <a:lnTo>
                    <a:pt x="160" y="102"/>
                  </a:lnTo>
                  <a:lnTo>
                    <a:pt x="194" y="76"/>
                  </a:lnTo>
                  <a:lnTo>
                    <a:pt x="230" y="54"/>
                  </a:lnTo>
                  <a:lnTo>
                    <a:pt x="270" y="36"/>
                  </a:lnTo>
                  <a:lnTo>
                    <a:pt x="310" y="20"/>
                  </a:lnTo>
                  <a:lnTo>
                    <a:pt x="352" y="10"/>
                  </a:lnTo>
                  <a:lnTo>
                    <a:pt x="394" y="2"/>
                  </a:lnTo>
                  <a:lnTo>
                    <a:pt x="440" y="0"/>
                  </a:lnTo>
                  <a:close/>
                </a:path>
              </a:pathLst>
            </a:custGeom>
            <a:solidFill>
              <a:srgbClr val="FA96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05"/>
            <p:cNvSpPr>
              <a:spLocks/>
            </p:cNvSpPr>
            <p:nvPr/>
          </p:nvSpPr>
          <p:spPr bwMode="auto">
            <a:xfrm>
              <a:off x="4032" y="2445"/>
              <a:ext cx="882" cy="894"/>
            </a:xfrm>
            <a:custGeom>
              <a:avLst/>
              <a:gdLst>
                <a:gd name="T0" fmla="*/ 440 w 882"/>
                <a:gd name="T1" fmla="*/ 0 h 894"/>
                <a:gd name="T2" fmla="*/ 528 w 882"/>
                <a:gd name="T3" fmla="*/ 8 h 894"/>
                <a:gd name="T4" fmla="*/ 612 w 882"/>
                <a:gd name="T5" fmla="*/ 36 h 894"/>
                <a:gd name="T6" fmla="*/ 686 w 882"/>
                <a:gd name="T7" fmla="*/ 76 h 894"/>
                <a:gd name="T8" fmla="*/ 752 w 882"/>
                <a:gd name="T9" fmla="*/ 132 h 894"/>
                <a:gd name="T10" fmla="*/ 806 w 882"/>
                <a:gd name="T11" fmla="*/ 198 h 894"/>
                <a:gd name="T12" fmla="*/ 846 w 882"/>
                <a:gd name="T13" fmla="*/ 274 h 894"/>
                <a:gd name="T14" fmla="*/ 872 w 882"/>
                <a:gd name="T15" fmla="*/ 358 h 894"/>
                <a:gd name="T16" fmla="*/ 882 w 882"/>
                <a:gd name="T17" fmla="*/ 446 h 894"/>
                <a:gd name="T18" fmla="*/ 878 w 882"/>
                <a:gd name="T19" fmla="*/ 492 h 894"/>
                <a:gd name="T20" fmla="*/ 862 w 882"/>
                <a:gd name="T21" fmla="*/ 580 h 894"/>
                <a:gd name="T22" fmla="*/ 828 w 882"/>
                <a:gd name="T23" fmla="*/ 660 h 894"/>
                <a:gd name="T24" fmla="*/ 780 w 882"/>
                <a:gd name="T25" fmla="*/ 732 h 894"/>
                <a:gd name="T26" fmla="*/ 720 w 882"/>
                <a:gd name="T27" fmla="*/ 792 h 894"/>
                <a:gd name="T28" fmla="*/ 650 w 882"/>
                <a:gd name="T29" fmla="*/ 840 h 894"/>
                <a:gd name="T30" fmla="*/ 572 w 882"/>
                <a:gd name="T31" fmla="*/ 874 h 894"/>
                <a:gd name="T32" fmla="*/ 486 w 882"/>
                <a:gd name="T33" fmla="*/ 892 h 894"/>
                <a:gd name="T34" fmla="*/ 440 w 882"/>
                <a:gd name="T35" fmla="*/ 894 h 894"/>
                <a:gd name="T36" fmla="*/ 352 w 882"/>
                <a:gd name="T37" fmla="*/ 886 h 894"/>
                <a:gd name="T38" fmla="*/ 270 w 882"/>
                <a:gd name="T39" fmla="*/ 858 h 894"/>
                <a:gd name="T40" fmla="*/ 194 w 882"/>
                <a:gd name="T41" fmla="*/ 818 h 894"/>
                <a:gd name="T42" fmla="*/ 128 w 882"/>
                <a:gd name="T43" fmla="*/ 762 h 894"/>
                <a:gd name="T44" fmla="*/ 74 w 882"/>
                <a:gd name="T45" fmla="*/ 696 h 894"/>
                <a:gd name="T46" fmla="*/ 34 w 882"/>
                <a:gd name="T47" fmla="*/ 620 h 894"/>
                <a:gd name="T48" fmla="*/ 8 w 882"/>
                <a:gd name="T49" fmla="*/ 536 h 894"/>
                <a:gd name="T50" fmla="*/ 0 w 882"/>
                <a:gd name="T51" fmla="*/ 446 h 894"/>
                <a:gd name="T52" fmla="*/ 2 w 882"/>
                <a:gd name="T53" fmla="*/ 402 h 894"/>
                <a:gd name="T54" fmla="*/ 20 w 882"/>
                <a:gd name="T55" fmla="*/ 314 h 894"/>
                <a:gd name="T56" fmla="*/ 52 w 882"/>
                <a:gd name="T57" fmla="*/ 234 h 894"/>
                <a:gd name="T58" fmla="*/ 100 w 882"/>
                <a:gd name="T59" fmla="*/ 162 h 894"/>
                <a:gd name="T60" fmla="*/ 160 w 882"/>
                <a:gd name="T61" fmla="*/ 102 h 894"/>
                <a:gd name="T62" fmla="*/ 230 w 882"/>
                <a:gd name="T63" fmla="*/ 54 h 894"/>
                <a:gd name="T64" fmla="*/ 310 w 882"/>
                <a:gd name="T65" fmla="*/ 20 h 894"/>
                <a:gd name="T66" fmla="*/ 396 w 882"/>
                <a:gd name="T67" fmla="*/ 2 h 894"/>
                <a:gd name="T68" fmla="*/ 440 w 882"/>
                <a:gd name="T69" fmla="*/ 0 h 89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82"/>
                <a:gd name="T106" fmla="*/ 0 h 894"/>
                <a:gd name="T107" fmla="*/ 882 w 882"/>
                <a:gd name="T108" fmla="*/ 894 h 89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82" h="894">
                  <a:moveTo>
                    <a:pt x="440" y="0"/>
                  </a:moveTo>
                  <a:lnTo>
                    <a:pt x="440" y="0"/>
                  </a:lnTo>
                  <a:lnTo>
                    <a:pt x="486" y="2"/>
                  </a:lnTo>
                  <a:lnTo>
                    <a:pt x="528" y="8"/>
                  </a:lnTo>
                  <a:lnTo>
                    <a:pt x="572" y="20"/>
                  </a:lnTo>
                  <a:lnTo>
                    <a:pt x="612" y="36"/>
                  </a:lnTo>
                  <a:lnTo>
                    <a:pt x="650" y="54"/>
                  </a:lnTo>
                  <a:lnTo>
                    <a:pt x="686" y="76"/>
                  </a:lnTo>
                  <a:lnTo>
                    <a:pt x="720" y="102"/>
                  </a:lnTo>
                  <a:lnTo>
                    <a:pt x="752" y="132"/>
                  </a:lnTo>
                  <a:lnTo>
                    <a:pt x="780" y="162"/>
                  </a:lnTo>
                  <a:lnTo>
                    <a:pt x="806" y="198"/>
                  </a:lnTo>
                  <a:lnTo>
                    <a:pt x="828" y="234"/>
                  </a:lnTo>
                  <a:lnTo>
                    <a:pt x="846" y="274"/>
                  </a:lnTo>
                  <a:lnTo>
                    <a:pt x="862" y="314"/>
                  </a:lnTo>
                  <a:lnTo>
                    <a:pt x="872" y="358"/>
                  </a:lnTo>
                  <a:lnTo>
                    <a:pt x="878" y="402"/>
                  </a:lnTo>
                  <a:lnTo>
                    <a:pt x="882" y="446"/>
                  </a:lnTo>
                  <a:lnTo>
                    <a:pt x="878" y="492"/>
                  </a:lnTo>
                  <a:lnTo>
                    <a:pt x="872" y="536"/>
                  </a:lnTo>
                  <a:lnTo>
                    <a:pt x="862" y="580"/>
                  </a:lnTo>
                  <a:lnTo>
                    <a:pt x="846" y="620"/>
                  </a:lnTo>
                  <a:lnTo>
                    <a:pt x="828" y="660"/>
                  </a:lnTo>
                  <a:lnTo>
                    <a:pt x="806" y="696"/>
                  </a:lnTo>
                  <a:lnTo>
                    <a:pt x="780" y="732"/>
                  </a:lnTo>
                  <a:lnTo>
                    <a:pt x="752" y="762"/>
                  </a:lnTo>
                  <a:lnTo>
                    <a:pt x="720" y="792"/>
                  </a:lnTo>
                  <a:lnTo>
                    <a:pt x="686" y="818"/>
                  </a:lnTo>
                  <a:lnTo>
                    <a:pt x="650" y="840"/>
                  </a:lnTo>
                  <a:lnTo>
                    <a:pt x="612" y="858"/>
                  </a:lnTo>
                  <a:lnTo>
                    <a:pt x="572" y="874"/>
                  </a:lnTo>
                  <a:lnTo>
                    <a:pt x="528" y="886"/>
                  </a:lnTo>
                  <a:lnTo>
                    <a:pt x="486" y="892"/>
                  </a:lnTo>
                  <a:lnTo>
                    <a:pt x="440" y="894"/>
                  </a:lnTo>
                  <a:lnTo>
                    <a:pt x="396" y="892"/>
                  </a:lnTo>
                  <a:lnTo>
                    <a:pt x="352" y="886"/>
                  </a:lnTo>
                  <a:lnTo>
                    <a:pt x="310" y="874"/>
                  </a:lnTo>
                  <a:lnTo>
                    <a:pt x="270" y="858"/>
                  </a:lnTo>
                  <a:lnTo>
                    <a:pt x="230" y="840"/>
                  </a:lnTo>
                  <a:lnTo>
                    <a:pt x="194" y="818"/>
                  </a:lnTo>
                  <a:lnTo>
                    <a:pt x="160" y="792"/>
                  </a:lnTo>
                  <a:lnTo>
                    <a:pt x="128" y="762"/>
                  </a:lnTo>
                  <a:lnTo>
                    <a:pt x="100" y="732"/>
                  </a:lnTo>
                  <a:lnTo>
                    <a:pt x="74" y="696"/>
                  </a:lnTo>
                  <a:lnTo>
                    <a:pt x="52" y="660"/>
                  </a:lnTo>
                  <a:lnTo>
                    <a:pt x="34" y="620"/>
                  </a:lnTo>
                  <a:lnTo>
                    <a:pt x="20" y="580"/>
                  </a:lnTo>
                  <a:lnTo>
                    <a:pt x="8" y="536"/>
                  </a:lnTo>
                  <a:lnTo>
                    <a:pt x="2" y="492"/>
                  </a:lnTo>
                  <a:lnTo>
                    <a:pt x="0" y="446"/>
                  </a:lnTo>
                  <a:lnTo>
                    <a:pt x="2" y="402"/>
                  </a:lnTo>
                  <a:lnTo>
                    <a:pt x="8" y="358"/>
                  </a:lnTo>
                  <a:lnTo>
                    <a:pt x="20" y="314"/>
                  </a:lnTo>
                  <a:lnTo>
                    <a:pt x="34" y="274"/>
                  </a:lnTo>
                  <a:lnTo>
                    <a:pt x="52" y="234"/>
                  </a:lnTo>
                  <a:lnTo>
                    <a:pt x="74" y="198"/>
                  </a:lnTo>
                  <a:lnTo>
                    <a:pt x="100" y="162"/>
                  </a:lnTo>
                  <a:lnTo>
                    <a:pt x="128" y="132"/>
                  </a:lnTo>
                  <a:lnTo>
                    <a:pt x="160" y="102"/>
                  </a:lnTo>
                  <a:lnTo>
                    <a:pt x="194" y="76"/>
                  </a:lnTo>
                  <a:lnTo>
                    <a:pt x="230" y="54"/>
                  </a:lnTo>
                  <a:lnTo>
                    <a:pt x="270" y="36"/>
                  </a:lnTo>
                  <a:lnTo>
                    <a:pt x="310" y="20"/>
                  </a:lnTo>
                  <a:lnTo>
                    <a:pt x="352" y="8"/>
                  </a:lnTo>
                  <a:lnTo>
                    <a:pt x="396" y="2"/>
                  </a:lnTo>
                  <a:lnTo>
                    <a:pt x="440" y="0"/>
                  </a:lnTo>
                  <a:close/>
                </a:path>
              </a:pathLst>
            </a:custGeom>
            <a:solidFill>
              <a:srgbClr val="FA6E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206"/>
            <p:cNvSpPr>
              <a:spLocks/>
            </p:cNvSpPr>
            <p:nvPr/>
          </p:nvSpPr>
          <p:spPr bwMode="auto">
            <a:xfrm>
              <a:off x="4058" y="2453"/>
              <a:ext cx="836" cy="860"/>
            </a:xfrm>
            <a:custGeom>
              <a:avLst/>
              <a:gdLst>
                <a:gd name="T0" fmla="*/ 418 w 836"/>
                <a:gd name="T1" fmla="*/ 0 h 860"/>
                <a:gd name="T2" fmla="*/ 502 w 836"/>
                <a:gd name="T3" fmla="*/ 10 h 860"/>
                <a:gd name="T4" fmla="*/ 580 w 836"/>
                <a:gd name="T5" fmla="*/ 34 h 860"/>
                <a:gd name="T6" fmla="*/ 652 w 836"/>
                <a:gd name="T7" fmla="*/ 74 h 860"/>
                <a:gd name="T8" fmla="*/ 714 w 836"/>
                <a:gd name="T9" fmla="*/ 126 h 860"/>
                <a:gd name="T10" fmla="*/ 764 w 836"/>
                <a:gd name="T11" fmla="*/ 190 h 860"/>
                <a:gd name="T12" fmla="*/ 804 w 836"/>
                <a:gd name="T13" fmla="*/ 264 h 860"/>
                <a:gd name="T14" fmla="*/ 828 w 836"/>
                <a:gd name="T15" fmla="*/ 344 h 860"/>
                <a:gd name="T16" fmla="*/ 836 w 836"/>
                <a:gd name="T17" fmla="*/ 430 h 860"/>
                <a:gd name="T18" fmla="*/ 834 w 836"/>
                <a:gd name="T19" fmla="*/ 474 h 860"/>
                <a:gd name="T20" fmla="*/ 818 w 836"/>
                <a:gd name="T21" fmla="*/ 558 h 860"/>
                <a:gd name="T22" fmla="*/ 786 w 836"/>
                <a:gd name="T23" fmla="*/ 636 h 860"/>
                <a:gd name="T24" fmla="*/ 740 w 836"/>
                <a:gd name="T25" fmla="*/ 704 h 860"/>
                <a:gd name="T26" fmla="*/ 684 w 836"/>
                <a:gd name="T27" fmla="*/ 762 h 860"/>
                <a:gd name="T28" fmla="*/ 618 w 836"/>
                <a:gd name="T29" fmla="*/ 808 h 860"/>
                <a:gd name="T30" fmla="*/ 542 w 836"/>
                <a:gd name="T31" fmla="*/ 842 h 860"/>
                <a:gd name="T32" fmla="*/ 460 w 836"/>
                <a:gd name="T33" fmla="*/ 858 h 860"/>
                <a:gd name="T34" fmla="*/ 418 w 836"/>
                <a:gd name="T35" fmla="*/ 860 h 860"/>
                <a:gd name="T36" fmla="*/ 334 w 836"/>
                <a:gd name="T37" fmla="*/ 852 h 860"/>
                <a:gd name="T38" fmla="*/ 256 w 836"/>
                <a:gd name="T39" fmla="*/ 826 h 860"/>
                <a:gd name="T40" fmla="*/ 184 w 836"/>
                <a:gd name="T41" fmla="*/ 786 h 860"/>
                <a:gd name="T42" fmla="*/ 122 w 836"/>
                <a:gd name="T43" fmla="*/ 734 h 860"/>
                <a:gd name="T44" fmla="*/ 72 w 836"/>
                <a:gd name="T45" fmla="*/ 670 h 860"/>
                <a:gd name="T46" fmla="*/ 32 w 836"/>
                <a:gd name="T47" fmla="*/ 598 h 860"/>
                <a:gd name="T48" fmla="*/ 8 w 836"/>
                <a:gd name="T49" fmla="*/ 518 h 860"/>
                <a:gd name="T50" fmla="*/ 0 w 836"/>
                <a:gd name="T51" fmla="*/ 430 h 860"/>
                <a:gd name="T52" fmla="*/ 2 w 836"/>
                <a:gd name="T53" fmla="*/ 386 h 860"/>
                <a:gd name="T54" fmla="*/ 18 w 836"/>
                <a:gd name="T55" fmla="*/ 304 h 860"/>
                <a:gd name="T56" fmla="*/ 50 w 836"/>
                <a:gd name="T57" fmla="*/ 226 h 860"/>
                <a:gd name="T58" fmla="*/ 96 w 836"/>
                <a:gd name="T59" fmla="*/ 158 h 860"/>
                <a:gd name="T60" fmla="*/ 152 w 836"/>
                <a:gd name="T61" fmla="*/ 100 h 860"/>
                <a:gd name="T62" fmla="*/ 218 w 836"/>
                <a:gd name="T63" fmla="*/ 52 h 860"/>
                <a:gd name="T64" fmla="*/ 294 w 836"/>
                <a:gd name="T65" fmla="*/ 20 h 860"/>
                <a:gd name="T66" fmla="*/ 376 w 836"/>
                <a:gd name="T67" fmla="*/ 4 h 860"/>
                <a:gd name="T68" fmla="*/ 418 w 836"/>
                <a:gd name="T69" fmla="*/ 0 h 86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36"/>
                <a:gd name="T106" fmla="*/ 0 h 860"/>
                <a:gd name="T107" fmla="*/ 836 w 836"/>
                <a:gd name="T108" fmla="*/ 860 h 86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36" h="860">
                  <a:moveTo>
                    <a:pt x="418" y="0"/>
                  </a:moveTo>
                  <a:lnTo>
                    <a:pt x="418" y="0"/>
                  </a:lnTo>
                  <a:lnTo>
                    <a:pt x="460" y="4"/>
                  </a:lnTo>
                  <a:lnTo>
                    <a:pt x="502" y="10"/>
                  </a:lnTo>
                  <a:lnTo>
                    <a:pt x="542" y="20"/>
                  </a:lnTo>
                  <a:lnTo>
                    <a:pt x="580" y="34"/>
                  </a:lnTo>
                  <a:lnTo>
                    <a:pt x="618" y="52"/>
                  </a:lnTo>
                  <a:lnTo>
                    <a:pt x="652" y="74"/>
                  </a:lnTo>
                  <a:lnTo>
                    <a:pt x="684" y="100"/>
                  </a:lnTo>
                  <a:lnTo>
                    <a:pt x="714" y="126"/>
                  </a:lnTo>
                  <a:lnTo>
                    <a:pt x="740" y="158"/>
                  </a:lnTo>
                  <a:lnTo>
                    <a:pt x="764" y="190"/>
                  </a:lnTo>
                  <a:lnTo>
                    <a:pt x="786" y="226"/>
                  </a:lnTo>
                  <a:lnTo>
                    <a:pt x="804" y="264"/>
                  </a:lnTo>
                  <a:lnTo>
                    <a:pt x="818" y="304"/>
                  </a:lnTo>
                  <a:lnTo>
                    <a:pt x="828" y="344"/>
                  </a:lnTo>
                  <a:lnTo>
                    <a:pt x="834" y="386"/>
                  </a:lnTo>
                  <a:lnTo>
                    <a:pt x="836" y="430"/>
                  </a:lnTo>
                  <a:lnTo>
                    <a:pt x="834" y="474"/>
                  </a:lnTo>
                  <a:lnTo>
                    <a:pt x="828" y="518"/>
                  </a:lnTo>
                  <a:lnTo>
                    <a:pt x="818" y="558"/>
                  </a:lnTo>
                  <a:lnTo>
                    <a:pt x="804" y="598"/>
                  </a:lnTo>
                  <a:lnTo>
                    <a:pt x="786" y="636"/>
                  </a:lnTo>
                  <a:lnTo>
                    <a:pt x="764" y="670"/>
                  </a:lnTo>
                  <a:lnTo>
                    <a:pt x="740" y="704"/>
                  </a:lnTo>
                  <a:lnTo>
                    <a:pt x="714" y="734"/>
                  </a:lnTo>
                  <a:lnTo>
                    <a:pt x="684" y="762"/>
                  </a:lnTo>
                  <a:lnTo>
                    <a:pt x="652" y="786"/>
                  </a:lnTo>
                  <a:lnTo>
                    <a:pt x="618" y="808"/>
                  </a:lnTo>
                  <a:lnTo>
                    <a:pt x="580" y="826"/>
                  </a:lnTo>
                  <a:lnTo>
                    <a:pt x="542" y="842"/>
                  </a:lnTo>
                  <a:lnTo>
                    <a:pt x="502" y="852"/>
                  </a:lnTo>
                  <a:lnTo>
                    <a:pt x="460" y="858"/>
                  </a:lnTo>
                  <a:lnTo>
                    <a:pt x="418" y="860"/>
                  </a:lnTo>
                  <a:lnTo>
                    <a:pt x="376" y="858"/>
                  </a:lnTo>
                  <a:lnTo>
                    <a:pt x="334" y="852"/>
                  </a:lnTo>
                  <a:lnTo>
                    <a:pt x="294" y="842"/>
                  </a:lnTo>
                  <a:lnTo>
                    <a:pt x="256" y="826"/>
                  </a:lnTo>
                  <a:lnTo>
                    <a:pt x="218" y="808"/>
                  </a:lnTo>
                  <a:lnTo>
                    <a:pt x="184" y="786"/>
                  </a:lnTo>
                  <a:lnTo>
                    <a:pt x="152" y="762"/>
                  </a:lnTo>
                  <a:lnTo>
                    <a:pt x="122" y="734"/>
                  </a:lnTo>
                  <a:lnTo>
                    <a:pt x="96" y="704"/>
                  </a:lnTo>
                  <a:lnTo>
                    <a:pt x="72" y="670"/>
                  </a:lnTo>
                  <a:lnTo>
                    <a:pt x="50" y="636"/>
                  </a:lnTo>
                  <a:lnTo>
                    <a:pt x="32" y="598"/>
                  </a:lnTo>
                  <a:lnTo>
                    <a:pt x="18" y="558"/>
                  </a:lnTo>
                  <a:lnTo>
                    <a:pt x="8" y="518"/>
                  </a:lnTo>
                  <a:lnTo>
                    <a:pt x="2" y="474"/>
                  </a:lnTo>
                  <a:lnTo>
                    <a:pt x="0" y="430"/>
                  </a:lnTo>
                  <a:lnTo>
                    <a:pt x="2" y="386"/>
                  </a:lnTo>
                  <a:lnTo>
                    <a:pt x="8" y="344"/>
                  </a:lnTo>
                  <a:lnTo>
                    <a:pt x="18" y="304"/>
                  </a:lnTo>
                  <a:lnTo>
                    <a:pt x="32" y="264"/>
                  </a:lnTo>
                  <a:lnTo>
                    <a:pt x="50" y="226"/>
                  </a:lnTo>
                  <a:lnTo>
                    <a:pt x="72" y="190"/>
                  </a:lnTo>
                  <a:lnTo>
                    <a:pt x="96" y="158"/>
                  </a:lnTo>
                  <a:lnTo>
                    <a:pt x="122" y="126"/>
                  </a:lnTo>
                  <a:lnTo>
                    <a:pt x="152" y="100"/>
                  </a:lnTo>
                  <a:lnTo>
                    <a:pt x="184" y="74"/>
                  </a:lnTo>
                  <a:lnTo>
                    <a:pt x="218" y="52"/>
                  </a:lnTo>
                  <a:lnTo>
                    <a:pt x="256" y="34"/>
                  </a:lnTo>
                  <a:lnTo>
                    <a:pt x="294" y="20"/>
                  </a:lnTo>
                  <a:lnTo>
                    <a:pt x="334" y="10"/>
                  </a:lnTo>
                  <a:lnTo>
                    <a:pt x="376" y="4"/>
                  </a:lnTo>
                  <a:lnTo>
                    <a:pt x="418" y="0"/>
                  </a:lnTo>
                  <a:close/>
                </a:path>
              </a:pathLst>
            </a:custGeom>
            <a:solidFill>
              <a:srgbClr val="FFC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07"/>
            <p:cNvSpPr>
              <a:spLocks/>
            </p:cNvSpPr>
            <p:nvPr/>
          </p:nvSpPr>
          <p:spPr bwMode="auto">
            <a:xfrm>
              <a:off x="4072" y="2461"/>
              <a:ext cx="816" cy="842"/>
            </a:xfrm>
            <a:custGeom>
              <a:avLst/>
              <a:gdLst>
                <a:gd name="T0" fmla="*/ 408 w 816"/>
                <a:gd name="T1" fmla="*/ 0 h 842"/>
                <a:gd name="T2" fmla="*/ 490 w 816"/>
                <a:gd name="T3" fmla="*/ 10 h 842"/>
                <a:gd name="T4" fmla="*/ 566 w 816"/>
                <a:gd name="T5" fmla="*/ 34 h 842"/>
                <a:gd name="T6" fmla="*/ 636 w 816"/>
                <a:gd name="T7" fmla="*/ 72 h 842"/>
                <a:gd name="T8" fmla="*/ 696 w 816"/>
                <a:gd name="T9" fmla="*/ 124 h 842"/>
                <a:gd name="T10" fmla="*/ 746 w 816"/>
                <a:gd name="T11" fmla="*/ 186 h 842"/>
                <a:gd name="T12" fmla="*/ 784 w 816"/>
                <a:gd name="T13" fmla="*/ 258 h 842"/>
                <a:gd name="T14" fmla="*/ 808 w 816"/>
                <a:gd name="T15" fmla="*/ 336 h 842"/>
                <a:gd name="T16" fmla="*/ 816 w 816"/>
                <a:gd name="T17" fmla="*/ 422 h 842"/>
                <a:gd name="T18" fmla="*/ 814 w 816"/>
                <a:gd name="T19" fmla="*/ 464 h 842"/>
                <a:gd name="T20" fmla="*/ 798 w 816"/>
                <a:gd name="T21" fmla="*/ 546 h 842"/>
                <a:gd name="T22" fmla="*/ 766 w 816"/>
                <a:gd name="T23" fmla="*/ 622 h 842"/>
                <a:gd name="T24" fmla="*/ 722 w 816"/>
                <a:gd name="T25" fmla="*/ 690 h 842"/>
                <a:gd name="T26" fmla="*/ 668 w 816"/>
                <a:gd name="T27" fmla="*/ 746 h 842"/>
                <a:gd name="T28" fmla="*/ 602 w 816"/>
                <a:gd name="T29" fmla="*/ 792 h 842"/>
                <a:gd name="T30" fmla="*/ 530 w 816"/>
                <a:gd name="T31" fmla="*/ 824 h 842"/>
                <a:gd name="T32" fmla="*/ 450 w 816"/>
                <a:gd name="T33" fmla="*/ 840 h 842"/>
                <a:gd name="T34" fmla="*/ 408 w 816"/>
                <a:gd name="T35" fmla="*/ 842 h 842"/>
                <a:gd name="T36" fmla="*/ 326 w 816"/>
                <a:gd name="T37" fmla="*/ 834 h 842"/>
                <a:gd name="T38" fmla="*/ 250 w 816"/>
                <a:gd name="T39" fmla="*/ 810 h 842"/>
                <a:gd name="T40" fmla="*/ 180 w 816"/>
                <a:gd name="T41" fmla="*/ 770 h 842"/>
                <a:gd name="T42" fmla="*/ 120 w 816"/>
                <a:gd name="T43" fmla="*/ 718 h 842"/>
                <a:gd name="T44" fmla="*/ 70 w 816"/>
                <a:gd name="T45" fmla="*/ 656 h 842"/>
                <a:gd name="T46" fmla="*/ 34 w 816"/>
                <a:gd name="T47" fmla="*/ 586 h 842"/>
                <a:gd name="T48" fmla="*/ 10 w 816"/>
                <a:gd name="T49" fmla="*/ 506 h 842"/>
                <a:gd name="T50" fmla="*/ 0 w 816"/>
                <a:gd name="T51" fmla="*/ 422 h 842"/>
                <a:gd name="T52" fmla="*/ 4 w 816"/>
                <a:gd name="T53" fmla="*/ 378 h 842"/>
                <a:gd name="T54" fmla="*/ 20 w 816"/>
                <a:gd name="T55" fmla="*/ 296 h 842"/>
                <a:gd name="T56" fmla="*/ 50 w 816"/>
                <a:gd name="T57" fmla="*/ 222 h 842"/>
                <a:gd name="T58" fmla="*/ 94 w 816"/>
                <a:gd name="T59" fmla="*/ 154 h 842"/>
                <a:gd name="T60" fmla="*/ 150 w 816"/>
                <a:gd name="T61" fmla="*/ 98 h 842"/>
                <a:gd name="T62" fmla="*/ 214 w 816"/>
                <a:gd name="T63" fmla="*/ 52 h 842"/>
                <a:gd name="T64" fmla="*/ 288 w 816"/>
                <a:gd name="T65" fmla="*/ 20 h 842"/>
                <a:gd name="T66" fmla="*/ 366 w 816"/>
                <a:gd name="T67" fmla="*/ 2 h 842"/>
                <a:gd name="T68" fmla="*/ 408 w 816"/>
                <a:gd name="T69" fmla="*/ 0 h 8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16"/>
                <a:gd name="T106" fmla="*/ 0 h 842"/>
                <a:gd name="T107" fmla="*/ 816 w 816"/>
                <a:gd name="T108" fmla="*/ 842 h 8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16" h="842">
                  <a:moveTo>
                    <a:pt x="408" y="0"/>
                  </a:moveTo>
                  <a:lnTo>
                    <a:pt x="408" y="0"/>
                  </a:lnTo>
                  <a:lnTo>
                    <a:pt x="450" y="2"/>
                  </a:lnTo>
                  <a:lnTo>
                    <a:pt x="490" y="10"/>
                  </a:lnTo>
                  <a:lnTo>
                    <a:pt x="530" y="20"/>
                  </a:lnTo>
                  <a:lnTo>
                    <a:pt x="566" y="34"/>
                  </a:lnTo>
                  <a:lnTo>
                    <a:pt x="602" y="52"/>
                  </a:lnTo>
                  <a:lnTo>
                    <a:pt x="636" y="72"/>
                  </a:lnTo>
                  <a:lnTo>
                    <a:pt x="668" y="98"/>
                  </a:lnTo>
                  <a:lnTo>
                    <a:pt x="696" y="124"/>
                  </a:lnTo>
                  <a:lnTo>
                    <a:pt x="722" y="154"/>
                  </a:lnTo>
                  <a:lnTo>
                    <a:pt x="746" y="186"/>
                  </a:lnTo>
                  <a:lnTo>
                    <a:pt x="766" y="222"/>
                  </a:lnTo>
                  <a:lnTo>
                    <a:pt x="784" y="258"/>
                  </a:lnTo>
                  <a:lnTo>
                    <a:pt x="798" y="296"/>
                  </a:lnTo>
                  <a:lnTo>
                    <a:pt x="808" y="336"/>
                  </a:lnTo>
                  <a:lnTo>
                    <a:pt x="814" y="378"/>
                  </a:lnTo>
                  <a:lnTo>
                    <a:pt x="816" y="422"/>
                  </a:lnTo>
                  <a:lnTo>
                    <a:pt x="814" y="464"/>
                  </a:lnTo>
                  <a:lnTo>
                    <a:pt x="808" y="506"/>
                  </a:lnTo>
                  <a:lnTo>
                    <a:pt x="798" y="546"/>
                  </a:lnTo>
                  <a:lnTo>
                    <a:pt x="784" y="586"/>
                  </a:lnTo>
                  <a:lnTo>
                    <a:pt x="766" y="622"/>
                  </a:lnTo>
                  <a:lnTo>
                    <a:pt x="746" y="656"/>
                  </a:lnTo>
                  <a:lnTo>
                    <a:pt x="722" y="690"/>
                  </a:lnTo>
                  <a:lnTo>
                    <a:pt x="696" y="718"/>
                  </a:lnTo>
                  <a:lnTo>
                    <a:pt x="668" y="746"/>
                  </a:lnTo>
                  <a:lnTo>
                    <a:pt x="636" y="770"/>
                  </a:lnTo>
                  <a:lnTo>
                    <a:pt x="602" y="792"/>
                  </a:lnTo>
                  <a:lnTo>
                    <a:pt x="566" y="810"/>
                  </a:lnTo>
                  <a:lnTo>
                    <a:pt x="530" y="824"/>
                  </a:lnTo>
                  <a:lnTo>
                    <a:pt x="490" y="834"/>
                  </a:lnTo>
                  <a:lnTo>
                    <a:pt x="450" y="840"/>
                  </a:lnTo>
                  <a:lnTo>
                    <a:pt x="408" y="842"/>
                  </a:lnTo>
                  <a:lnTo>
                    <a:pt x="366" y="840"/>
                  </a:lnTo>
                  <a:lnTo>
                    <a:pt x="326" y="834"/>
                  </a:lnTo>
                  <a:lnTo>
                    <a:pt x="288" y="824"/>
                  </a:lnTo>
                  <a:lnTo>
                    <a:pt x="250" y="810"/>
                  </a:lnTo>
                  <a:lnTo>
                    <a:pt x="214" y="792"/>
                  </a:lnTo>
                  <a:lnTo>
                    <a:pt x="180" y="770"/>
                  </a:lnTo>
                  <a:lnTo>
                    <a:pt x="150" y="746"/>
                  </a:lnTo>
                  <a:lnTo>
                    <a:pt x="120" y="718"/>
                  </a:lnTo>
                  <a:lnTo>
                    <a:pt x="94" y="690"/>
                  </a:lnTo>
                  <a:lnTo>
                    <a:pt x="70" y="656"/>
                  </a:lnTo>
                  <a:lnTo>
                    <a:pt x="50" y="622"/>
                  </a:lnTo>
                  <a:lnTo>
                    <a:pt x="34" y="586"/>
                  </a:lnTo>
                  <a:lnTo>
                    <a:pt x="20" y="546"/>
                  </a:lnTo>
                  <a:lnTo>
                    <a:pt x="10" y="506"/>
                  </a:lnTo>
                  <a:lnTo>
                    <a:pt x="4" y="464"/>
                  </a:lnTo>
                  <a:lnTo>
                    <a:pt x="0" y="422"/>
                  </a:lnTo>
                  <a:lnTo>
                    <a:pt x="4" y="378"/>
                  </a:lnTo>
                  <a:lnTo>
                    <a:pt x="10" y="336"/>
                  </a:lnTo>
                  <a:lnTo>
                    <a:pt x="20" y="296"/>
                  </a:lnTo>
                  <a:lnTo>
                    <a:pt x="34" y="258"/>
                  </a:lnTo>
                  <a:lnTo>
                    <a:pt x="50" y="222"/>
                  </a:lnTo>
                  <a:lnTo>
                    <a:pt x="70" y="186"/>
                  </a:lnTo>
                  <a:lnTo>
                    <a:pt x="94" y="154"/>
                  </a:lnTo>
                  <a:lnTo>
                    <a:pt x="120" y="124"/>
                  </a:lnTo>
                  <a:lnTo>
                    <a:pt x="150" y="98"/>
                  </a:lnTo>
                  <a:lnTo>
                    <a:pt x="180" y="72"/>
                  </a:lnTo>
                  <a:lnTo>
                    <a:pt x="214" y="52"/>
                  </a:lnTo>
                  <a:lnTo>
                    <a:pt x="250" y="34"/>
                  </a:lnTo>
                  <a:lnTo>
                    <a:pt x="288" y="20"/>
                  </a:lnTo>
                  <a:lnTo>
                    <a:pt x="326" y="10"/>
                  </a:lnTo>
                  <a:lnTo>
                    <a:pt x="366" y="2"/>
                  </a:lnTo>
                  <a:lnTo>
                    <a:pt x="408" y="0"/>
                  </a:lnTo>
                  <a:close/>
                </a:path>
              </a:pathLst>
            </a:custGeom>
            <a:solidFill>
              <a:srgbClr val="FFC4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08"/>
            <p:cNvSpPr>
              <a:spLocks/>
            </p:cNvSpPr>
            <p:nvPr/>
          </p:nvSpPr>
          <p:spPr bwMode="auto">
            <a:xfrm>
              <a:off x="4088" y="2469"/>
              <a:ext cx="792" cy="824"/>
            </a:xfrm>
            <a:custGeom>
              <a:avLst/>
              <a:gdLst>
                <a:gd name="T0" fmla="*/ 396 w 792"/>
                <a:gd name="T1" fmla="*/ 0 h 824"/>
                <a:gd name="T2" fmla="*/ 476 w 792"/>
                <a:gd name="T3" fmla="*/ 8 h 824"/>
                <a:gd name="T4" fmla="*/ 550 w 792"/>
                <a:gd name="T5" fmla="*/ 34 h 824"/>
                <a:gd name="T6" fmla="*/ 618 w 792"/>
                <a:gd name="T7" fmla="*/ 72 h 824"/>
                <a:gd name="T8" fmla="*/ 676 w 792"/>
                <a:gd name="T9" fmla="*/ 122 h 824"/>
                <a:gd name="T10" fmla="*/ 724 w 792"/>
                <a:gd name="T11" fmla="*/ 182 h 824"/>
                <a:gd name="T12" fmla="*/ 762 w 792"/>
                <a:gd name="T13" fmla="*/ 252 h 824"/>
                <a:gd name="T14" fmla="*/ 784 w 792"/>
                <a:gd name="T15" fmla="*/ 330 h 824"/>
                <a:gd name="T16" fmla="*/ 792 w 792"/>
                <a:gd name="T17" fmla="*/ 412 h 824"/>
                <a:gd name="T18" fmla="*/ 790 w 792"/>
                <a:gd name="T19" fmla="*/ 454 h 824"/>
                <a:gd name="T20" fmla="*/ 774 w 792"/>
                <a:gd name="T21" fmla="*/ 534 h 824"/>
                <a:gd name="T22" fmla="*/ 744 w 792"/>
                <a:gd name="T23" fmla="*/ 608 h 824"/>
                <a:gd name="T24" fmla="*/ 702 w 792"/>
                <a:gd name="T25" fmla="*/ 674 h 824"/>
                <a:gd name="T26" fmla="*/ 648 w 792"/>
                <a:gd name="T27" fmla="*/ 730 h 824"/>
                <a:gd name="T28" fmla="*/ 586 w 792"/>
                <a:gd name="T29" fmla="*/ 774 h 824"/>
                <a:gd name="T30" fmla="*/ 514 w 792"/>
                <a:gd name="T31" fmla="*/ 806 h 824"/>
                <a:gd name="T32" fmla="*/ 436 w 792"/>
                <a:gd name="T33" fmla="*/ 822 h 824"/>
                <a:gd name="T34" fmla="*/ 396 w 792"/>
                <a:gd name="T35" fmla="*/ 824 h 824"/>
                <a:gd name="T36" fmla="*/ 316 w 792"/>
                <a:gd name="T37" fmla="*/ 816 h 824"/>
                <a:gd name="T38" fmla="*/ 242 w 792"/>
                <a:gd name="T39" fmla="*/ 792 h 824"/>
                <a:gd name="T40" fmla="*/ 176 w 792"/>
                <a:gd name="T41" fmla="*/ 754 h 824"/>
                <a:gd name="T42" fmla="*/ 116 w 792"/>
                <a:gd name="T43" fmla="*/ 704 h 824"/>
                <a:gd name="T44" fmla="*/ 68 w 792"/>
                <a:gd name="T45" fmla="*/ 642 h 824"/>
                <a:gd name="T46" fmla="*/ 32 w 792"/>
                <a:gd name="T47" fmla="*/ 572 h 824"/>
                <a:gd name="T48" fmla="*/ 8 w 792"/>
                <a:gd name="T49" fmla="*/ 496 h 824"/>
                <a:gd name="T50" fmla="*/ 0 w 792"/>
                <a:gd name="T51" fmla="*/ 412 h 824"/>
                <a:gd name="T52" fmla="*/ 2 w 792"/>
                <a:gd name="T53" fmla="*/ 370 h 824"/>
                <a:gd name="T54" fmla="*/ 18 w 792"/>
                <a:gd name="T55" fmla="*/ 290 h 824"/>
                <a:gd name="T56" fmla="*/ 48 w 792"/>
                <a:gd name="T57" fmla="*/ 216 h 824"/>
                <a:gd name="T58" fmla="*/ 90 w 792"/>
                <a:gd name="T59" fmla="*/ 150 h 824"/>
                <a:gd name="T60" fmla="*/ 144 w 792"/>
                <a:gd name="T61" fmla="*/ 94 h 824"/>
                <a:gd name="T62" fmla="*/ 208 w 792"/>
                <a:gd name="T63" fmla="*/ 50 h 824"/>
                <a:gd name="T64" fmla="*/ 278 w 792"/>
                <a:gd name="T65" fmla="*/ 20 h 824"/>
                <a:gd name="T66" fmla="*/ 356 w 792"/>
                <a:gd name="T67" fmla="*/ 2 h 824"/>
                <a:gd name="T68" fmla="*/ 396 w 792"/>
                <a:gd name="T69" fmla="*/ 0 h 8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92"/>
                <a:gd name="T106" fmla="*/ 0 h 824"/>
                <a:gd name="T107" fmla="*/ 792 w 792"/>
                <a:gd name="T108" fmla="*/ 824 h 82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92" h="824">
                  <a:moveTo>
                    <a:pt x="396" y="0"/>
                  </a:moveTo>
                  <a:lnTo>
                    <a:pt x="396" y="0"/>
                  </a:lnTo>
                  <a:lnTo>
                    <a:pt x="436" y="2"/>
                  </a:lnTo>
                  <a:lnTo>
                    <a:pt x="476" y="8"/>
                  </a:lnTo>
                  <a:lnTo>
                    <a:pt x="514" y="20"/>
                  </a:lnTo>
                  <a:lnTo>
                    <a:pt x="550" y="34"/>
                  </a:lnTo>
                  <a:lnTo>
                    <a:pt x="586" y="50"/>
                  </a:lnTo>
                  <a:lnTo>
                    <a:pt x="618" y="72"/>
                  </a:lnTo>
                  <a:lnTo>
                    <a:pt x="648" y="94"/>
                  </a:lnTo>
                  <a:lnTo>
                    <a:pt x="676" y="122"/>
                  </a:lnTo>
                  <a:lnTo>
                    <a:pt x="702" y="150"/>
                  </a:lnTo>
                  <a:lnTo>
                    <a:pt x="724" y="182"/>
                  </a:lnTo>
                  <a:lnTo>
                    <a:pt x="744" y="216"/>
                  </a:lnTo>
                  <a:lnTo>
                    <a:pt x="762" y="252"/>
                  </a:lnTo>
                  <a:lnTo>
                    <a:pt x="774" y="290"/>
                  </a:lnTo>
                  <a:lnTo>
                    <a:pt x="784" y="330"/>
                  </a:lnTo>
                  <a:lnTo>
                    <a:pt x="790" y="370"/>
                  </a:lnTo>
                  <a:lnTo>
                    <a:pt x="792" y="412"/>
                  </a:lnTo>
                  <a:lnTo>
                    <a:pt x="790" y="454"/>
                  </a:lnTo>
                  <a:lnTo>
                    <a:pt x="784" y="496"/>
                  </a:lnTo>
                  <a:lnTo>
                    <a:pt x="774" y="534"/>
                  </a:lnTo>
                  <a:lnTo>
                    <a:pt x="762" y="572"/>
                  </a:lnTo>
                  <a:lnTo>
                    <a:pt x="744" y="608"/>
                  </a:lnTo>
                  <a:lnTo>
                    <a:pt x="724" y="642"/>
                  </a:lnTo>
                  <a:lnTo>
                    <a:pt x="702" y="674"/>
                  </a:lnTo>
                  <a:lnTo>
                    <a:pt x="676" y="704"/>
                  </a:lnTo>
                  <a:lnTo>
                    <a:pt x="648" y="730"/>
                  </a:lnTo>
                  <a:lnTo>
                    <a:pt x="618" y="754"/>
                  </a:lnTo>
                  <a:lnTo>
                    <a:pt x="586" y="774"/>
                  </a:lnTo>
                  <a:lnTo>
                    <a:pt x="550" y="792"/>
                  </a:lnTo>
                  <a:lnTo>
                    <a:pt x="514" y="806"/>
                  </a:lnTo>
                  <a:lnTo>
                    <a:pt x="476" y="816"/>
                  </a:lnTo>
                  <a:lnTo>
                    <a:pt x="436" y="822"/>
                  </a:lnTo>
                  <a:lnTo>
                    <a:pt x="396" y="824"/>
                  </a:lnTo>
                  <a:lnTo>
                    <a:pt x="356" y="822"/>
                  </a:lnTo>
                  <a:lnTo>
                    <a:pt x="316" y="816"/>
                  </a:lnTo>
                  <a:lnTo>
                    <a:pt x="278" y="806"/>
                  </a:lnTo>
                  <a:lnTo>
                    <a:pt x="242" y="792"/>
                  </a:lnTo>
                  <a:lnTo>
                    <a:pt x="208" y="774"/>
                  </a:lnTo>
                  <a:lnTo>
                    <a:pt x="176" y="754"/>
                  </a:lnTo>
                  <a:lnTo>
                    <a:pt x="144" y="730"/>
                  </a:lnTo>
                  <a:lnTo>
                    <a:pt x="116" y="704"/>
                  </a:lnTo>
                  <a:lnTo>
                    <a:pt x="90" y="674"/>
                  </a:lnTo>
                  <a:lnTo>
                    <a:pt x="68" y="642"/>
                  </a:lnTo>
                  <a:lnTo>
                    <a:pt x="48" y="608"/>
                  </a:lnTo>
                  <a:lnTo>
                    <a:pt x="32" y="572"/>
                  </a:lnTo>
                  <a:lnTo>
                    <a:pt x="18" y="534"/>
                  </a:lnTo>
                  <a:lnTo>
                    <a:pt x="8" y="496"/>
                  </a:lnTo>
                  <a:lnTo>
                    <a:pt x="2" y="454"/>
                  </a:lnTo>
                  <a:lnTo>
                    <a:pt x="0" y="412"/>
                  </a:lnTo>
                  <a:lnTo>
                    <a:pt x="2" y="370"/>
                  </a:lnTo>
                  <a:lnTo>
                    <a:pt x="8" y="330"/>
                  </a:lnTo>
                  <a:lnTo>
                    <a:pt x="18" y="290"/>
                  </a:lnTo>
                  <a:lnTo>
                    <a:pt x="32" y="252"/>
                  </a:lnTo>
                  <a:lnTo>
                    <a:pt x="48" y="216"/>
                  </a:lnTo>
                  <a:lnTo>
                    <a:pt x="68" y="182"/>
                  </a:lnTo>
                  <a:lnTo>
                    <a:pt x="90" y="150"/>
                  </a:lnTo>
                  <a:lnTo>
                    <a:pt x="116" y="122"/>
                  </a:lnTo>
                  <a:lnTo>
                    <a:pt x="144" y="94"/>
                  </a:lnTo>
                  <a:lnTo>
                    <a:pt x="176" y="72"/>
                  </a:lnTo>
                  <a:lnTo>
                    <a:pt x="208" y="50"/>
                  </a:lnTo>
                  <a:lnTo>
                    <a:pt x="242" y="34"/>
                  </a:lnTo>
                  <a:lnTo>
                    <a:pt x="278" y="20"/>
                  </a:lnTo>
                  <a:lnTo>
                    <a:pt x="316" y="8"/>
                  </a:lnTo>
                  <a:lnTo>
                    <a:pt x="356" y="2"/>
                  </a:lnTo>
                  <a:lnTo>
                    <a:pt x="396" y="0"/>
                  </a:lnTo>
                  <a:close/>
                </a:path>
              </a:pathLst>
            </a:custGeom>
            <a:solidFill>
              <a:srgbClr val="FFC70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09"/>
            <p:cNvSpPr>
              <a:spLocks/>
            </p:cNvSpPr>
            <p:nvPr/>
          </p:nvSpPr>
          <p:spPr bwMode="auto">
            <a:xfrm>
              <a:off x="4104" y="2477"/>
              <a:ext cx="770" cy="806"/>
            </a:xfrm>
            <a:custGeom>
              <a:avLst/>
              <a:gdLst>
                <a:gd name="T0" fmla="*/ 384 w 770"/>
                <a:gd name="T1" fmla="*/ 0 h 806"/>
                <a:gd name="T2" fmla="*/ 462 w 770"/>
                <a:gd name="T3" fmla="*/ 8 h 806"/>
                <a:gd name="T4" fmla="*/ 534 w 770"/>
                <a:gd name="T5" fmla="*/ 32 h 806"/>
                <a:gd name="T6" fmla="*/ 600 w 770"/>
                <a:gd name="T7" fmla="*/ 70 h 806"/>
                <a:gd name="T8" fmla="*/ 656 w 770"/>
                <a:gd name="T9" fmla="*/ 118 h 806"/>
                <a:gd name="T10" fmla="*/ 704 w 770"/>
                <a:gd name="T11" fmla="*/ 178 h 806"/>
                <a:gd name="T12" fmla="*/ 740 w 770"/>
                <a:gd name="T13" fmla="*/ 246 h 806"/>
                <a:gd name="T14" fmla="*/ 762 w 770"/>
                <a:gd name="T15" fmla="*/ 322 h 806"/>
                <a:gd name="T16" fmla="*/ 770 w 770"/>
                <a:gd name="T17" fmla="*/ 404 h 806"/>
                <a:gd name="T18" fmla="*/ 768 w 770"/>
                <a:gd name="T19" fmla="*/ 444 h 806"/>
                <a:gd name="T20" fmla="*/ 752 w 770"/>
                <a:gd name="T21" fmla="*/ 524 h 806"/>
                <a:gd name="T22" fmla="*/ 724 w 770"/>
                <a:gd name="T23" fmla="*/ 596 h 806"/>
                <a:gd name="T24" fmla="*/ 682 w 770"/>
                <a:gd name="T25" fmla="*/ 660 h 806"/>
                <a:gd name="T26" fmla="*/ 630 w 770"/>
                <a:gd name="T27" fmla="*/ 714 h 806"/>
                <a:gd name="T28" fmla="*/ 568 w 770"/>
                <a:gd name="T29" fmla="*/ 758 h 806"/>
                <a:gd name="T30" fmla="*/ 498 w 770"/>
                <a:gd name="T31" fmla="*/ 788 h 806"/>
                <a:gd name="T32" fmla="*/ 424 w 770"/>
                <a:gd name="T33" fmla="*/ 804 h 806"/>
                <a:gd name="T34" fmla="*/ 384 w 770"/>
                <a:gd name="T35" fmla="*/ 806 h 806"/>
                <a:gd name="T36" fmla="*/ 308 w 770"/>
                <a:gd name="T37" fmla="*/ 798 h 806"/>
                <a:gd name="T38" fmla="*/ 234 w 770"/>
                <a:gd name="T39" fmla="*/ 774 h 806"/>
                <a:gd name="T40" fmla="*/ 170 w 770"/>
                <a:gd name="T41" fmla="*/ 738 h 806"/>
                <a:gd name="T42" fmla="*/ 112 w 770"/>
                <a:gd name="T43" fmla="*/ 688 h 806"/>
                <a:gd name="T44" fmla="*/ 66 w 770"/>
                <a:gd name="T45" fmla="*/ 628 h 806"/>
                <a:gd name="T46" fmla="*/ 30 w 770"/>
                <a:gd name="T47" fmla="*/ 560 h 806"/>
                <a:gd name="T48" fmla="*/ 6 w 770"/>
                <a:gd name="T49" fmla="*/ 484 h 806"/>
                <a:gd name="T50" fmla="*/ 0 w 770"/>
                <a:gd name="T51" fmla="*/ 404 h 806"/>
                <a:gd name="T52" fmla="*/ 2 w 770"/>
                <a:gd name="T53" fmla="*/ 362 h 806"/>
                <a:gd name="T54" fmla="*/ 16 w 770"/>
                <a:gd name="T55" fmla="*/ 284 h 806"/>
                <a:gd name="T56" fmla="*/ 46 w 770"/>
                <a:gd name="T57" fmla="*/ 212 h 806"/>
                <a:gd name="T58" fmla="*/ 88 w 770"/>
                <a:gd name="T59" fmla="*/ 148 h 806"/>
                <a:gd name="T60" fmla="*/ 140 w 770"/>
                <a:gd name="T61" fmla="*/ 92 h 806"/>
                <a:gd name="T62" fmla="*/ 202 w 770"/>
                <a:gd name="T63" fmla="*/ 50 h 806"/>
                <a:gd name="T64" fmla="*/ 270 w 770"/>
                <a:gd name="T65" fmla="*/ 18 h 806"/>
                <a:gd name="T66" fmla="*/ 346 w 770"/>
                <a:gd name="T67" fmla="*/ 2 h 806"/>
                <a:gd name="T68" fmla="*/ 384 w 770"/>
                <a:gd name="T69" fmla="*/ 0 h 80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70"/>
                <a:gd name="T106" fmla="*/ 0 h 806"/>
                <a:gd name="T107" fmla="*/ 770 w 770"/>
                <a:gd name="T108" fmla="*/ 806 h 80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70" h="806">
                  <a:moveTo>
                    <a:pt x="384" y="0"/>
                  </a:moveTo>
                  <a:lnTo>
                    <a:pt x="384" y="0"/>
                  </a:lnTo>
                  <a:lnTo>
                    <a:pt x="424" y="2"/>
                  </a:lnTo>
                  <a:lnTo>
                    <a:pt x="462" y="8"/>
                  </a:lnTo>
                  <a:lnTo>
                    <a:pt x="498" y="18"/>
                  </a:lnTo>
                  <a:lnTo>
                    <a:pt x="534" y="32"/>
                  </a:lnTo>
                  <a:lnTo>
                    <a:pt x="568" y="50"/>
                  </a:lnTo>
                  <a:lnTo>
                    <a:pt x="600" y="70"/>
                  </a:lnTo>
                  <a:lnTo>
                    <a:pt x="630" y="92"/>
                  </a:lnTo>
                  <a:lnTo>
                    <a:pt x="656" y="118"/>
                  </a:lnTo>
                  <a:lnTo>
                    <a:pt x="682" y="148"/>
                  </a:lnTo>
                  <a:lnTo>
                    <a:pt x="704" y="178"/>
                  </a:lnTo>
                  <a:lnTo>
                    <a:pt x="724" y="212"/>
                  </a:lnTo>
                  <a:lnTo>
                    <a:pt x="740" y="246"/>
                  </a:lnTo>
                  <a:lnTo>
                    <a:pt x="752" y="284"/>
                  </a:lnTo>
                  <a:lnTo>
                    <a:pt x="762" y="322"/>
                  </a:lnTo>
                  <a:lnTo>
                    <a:pt x="768" y="362"/>
                  </a:lnTo>
                  <a:lnTo>
                    <a:pt x="770" y="404"/>
                  </a:lnTo>
                  <a:lnTo>
                    <a:pt x="768" y="444"/>
                  </a:lnTo>
                  <a:lnTo>
                    <a:pt x="762" y="484"/>
                  </a:lnTo>
                  <a:lnTo>
                    <a:pt x="752" y="524"/>
                  </a:lnTo>
                  <a:lnTo>
                    <a:pt x="740" y="560"/>
                  </a:lnTo>
                  <a:lnTo>
                    <a:pt x="724" y="596"/>
                  </a:lnTo>
                  <a:lnTo>
                    <a:pt x="704" y="628"/>
                  </a:lnTo>
                  <a:lnTo>
                    <a:pt x="682" y="660"/>
                  </a:lnTo>
                  <a:lnTo>
                    <a:pt x="656" y="688"/>
                  </a:lnTo>
                  <a:lnTo>
                    <a:pt x="630" y="714"/>
                  </a:lnTo>
                  <a:lnTo>
                    <a:pt x="600" y="738"/>
                  </a:lnTo>
                  <a:lnTo>
                    <a:pt x="568" y="758"/>
                  </a:lnTo>
                  <a:lnTo>
                    <a:pt x="534" y="774"/>
                  </a:lnTo>
                  <a:lnTo>
                    <a:pt x="498" y="788"/>
                  </a:lnTo>
                  <a:lnTo>
                    <a:pt x="462" y="798"/>
                  </a:lnTo>
                  <a:lnTo>
                    <a:pt x="424" y="804"/>
                  </a:lnTo>
                  <a:lnTo>
                    <a:pt x="384" y="806"/>
                  </a:lnTo>
                  <a:lnTo>
                    <a:pt x="346" y="804"/>
                  </a:lnTo>
                  <a:lnTo>
                    <a:pt x="308" y="798"/>
                  </a:lnTo>
                  <a:lnTo>
                    <a:pt x="270" y="788"/>
                  </a:lnTo>
                  <a:lnTo>
                    <a:pt x="234" y="774"/>
                  </a:lnTo>
                  <a:lnTo>
                    <a:pt x="202" y="758"/>
                  </a:lnTo>
                  <a:lnTo>
                    <a:pt x="170" y="738"/>
                  </a:lnTo>
                  <a:lnTo>
                    <a:pt x="140" y="714"/>
                  </a:lnTo>
                  <a:lnTo>
                    <a:pt x="112" y="688"/>
                  </a:lnTo>
                  <a:lnTo>
                    <a:pt x="88" y="660"/>
                  </a:lnTo>
                  <a:lnTo>
                    <a:pt x="66" y="628"/>
                  </a:lnTo>
                  <a:lnTo>
                    <a:pt x="46" y="596"/>
                  </a:lnTo>
                  <a:lnTo>
                    <a:pt x="30" y="560"/>
                  </a:lnTo>
                  <a:lnTo>
                    <a:pt x="16" y="524"/>
                  </a:lnTo>
                  <a:lnTo>
                    <a:pt x="6" y="484"/>
                  </a:lnTo>
                  <a:lnTo>
                    <a:pt x="2" y="44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6" y="322"/>
                  </a:lnTo>
                  <a:lnTo>
                    <a:pt x="16" y="284"/>
                  </a:lnTo>
                  <a:lnTo>
                    <a:pt x="30" y="246"/>
                  </a:lnTo>
                  <a:lnTo>
                    <a:pt x="46" y="212"/>
                  </a:lnTo>
                  <a:lnTo>
                    <a:pt x="66" y="178"/>
                  </a:lnTo>
                  <a:lnTo>
                    <a:pt x="88" y="148"/>
                  </a:lnTo>
                  <a:lnTo>
                    <a:pt x="112" y="118"/>
                  </a:lnTo>
                  <a:lnTo>
                    <a:pt x="140" y="92"/>
                  </a:lnTo>
                  <a:lnTo>
                    <a:pt x="170" y="70"/>
                  </a:lnTo>
                  <a:lnTo>
                    <a:pt x="202" y="50"/>
                  </a:lnTo>
                  <a:lnTo>
                    <a:pt x="234" y="32"/>
                  </a:lnTo>
                  <a:lnTo>
                    <a:pt x="270" y="18"/>
                  </a:lnTo>
                  <a:lnTo>
                    <a:pt x="308" y="8"/>
                  </a:lnTo>
                  <a:lnTo>
                    <a:pt x="346" y="2"/>
                  </a:lnTo>
                  <a:lnTo>
                    <a:pt x="384" y="0"/>
                  </a:lnTo>
                  <a:close/>
                </a:path>
              </a:pathLst>
            </a:custGeom>
            <a:solidFill>
              <a:srgbClr val="FCCA0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10"/>
            <p:cNvSpPr>
              <a:spLocks/>
            </p:cNvSpPr>
            <p:nvPr/>
          </p:nvSpPr>
          <p:spPr bwMode="auto">
            <a:xfrm>
              <a:off x="4118" y="2485"/>
              <a:ext cx="750" cy="788"/>
            </a:xfrm>
            <a:custGeom>
              <a:avLst/>
              <a:gdLst>
                <a:gd name="T0" fmla="*/ 374 w 750"/>
                <a:gd name="T1" fmla="*/ 0 h 788"/>
                <a:gd name="T2" fmla="*/ 450 w 750"/>
                <a:gd name="T3" fmla="*/ 8 h 788"/>
                <a:gd name="T4" fmla="*/ 520 w 750"/>
                <a:gd name="T5" fmla="*/ 32 h 788"/>
                <a:gd name="T6" fmla="*/ 584 w 750"/>
                <a:gd name="T7" fmla="*/ 68 h 788"/>
                <a:gd name="T8" fmla="*/ 640 w 750"/>
                <a:gd name="T9" fmla="*/ 116 h 788"/>
                <a:gd name="T10" fmla="*/ 686 w 750"/>
                <a:gd name="T11" fmla="*/ 174 h 788"/>
                <a:gd name="T12" fmla="*/ 720 w 750"/>
                <a:gd name="T13" fmla="*/ 242 h 788"/>
                <a:gd name="T14" fmla="*/ 742 w 750"/>
                <a:gd name="T15" fmla="*/ 316 h 788"/>
                <a:gd name="T16" fmla="*/ 750 w 750"/>
                <a:gd name="T17" fmla="*/ 394 h 788"/>
                <a:gd name="T18" fmla="*/ 748 w 750"/>
                <a:gd name="T19" fmla="*/ 434 h 788"/>
                <a:gd name="T20" fmla="*/ 732 w 750"/>
                <a:gd name="T21" fmla="*/ 512 h 788"/>
                <a:gd name="T22" fmla="*/ 704 w 750"/>
                <a:gd name="T23" fmla="*/ 582 h 788"/>
                <a:gd name="T24" fmla="*/ 664 w 750"/>
                <a:gd name="T25" fmla="*/ 644 h 788"/>
                <a:gd name="T26" fmla="*/ 612 w 750"/>
                <a:gd name="T27" fmla="*/ 698 h 788"/>
                <a:gd name="T28" fmla="*/ 552 w 750"/>
                <a:gd name="T29" fmla="*/ 740 h 788"/>
                <a:gd name="T30" fmla="*/ 486 w 750"/>
                <a:gd name="T31" fmla="*/ 770 h 788"/>
                <a:gd name="T32" fmla="*/ 412 w 750"/>
                <a:gd name="T33" fmla="*/ 786 h 788"/>
                <a:gd name="T34" fmla="*/ 374 w 750"/>
                <a:gd name="T35" fmla="*/ 788 h 788"/>
                <a:gd name="T36" fmla="*/ 300 w 750"/>
                <a:gd name="T37" fmla="*/ 780 h 788"/>
                <a:gd name="T38" fmla="*/ 230 w 750"/>
                <a:gd name="T39" fmla="*/ 758 h 788"/>
                <a:gd name="T40" fmla="*/ 166 w 750"/>
                <a:gd name="T41" fmla="*/ 720 h 788"/>
                <a:gd name="T42" fmla="*/ 110 w 750"/>
                <a:gd name="T43" fmla="*/ 672 h 788"/>
                <a:gd name="T44" fmla="*/ 64 w 750"/>
                <a:gd name="T45" fmla="*/ 614 h 788"/>
                <a:gd name="T46" fmla="*/ 30 w 750"/>
                <a:gd name="T47" fmla="*/ 548 h 788"/>
                <a:gd name="T48" fmla="*/ 8 w 750"/>
                <a:gd name="T49" fmla="*/ 474 h 788"/>
                <a:gd name="T50" fmla="*/ 0 w 750"/>
                <a:gd name="T51" fmla="*/ 394 h 788"/>
                <a:gd name="T52" fmla="*/ 2 w 750"/>
                <a:gd name="T53" fmla="*/ 354 h 788"/>
                <a:gd name="T54" fmla="*/ 18 w 750"/>
                <a:gd name="T55" fmla="*/ 278 h 788"/>
                <a:gd name="T56" fmla="*/ 46 w 750"/>
                <a:gd name="T57" fmla="*/ 206 h 788"/>
                <a:gd name="T58" fmla="*/ 86 w 750"/>
                <a:gd name="T59" fmla="*/ 144 h 788"/>
                <a:gd name="T60" fmla="*/ 136 w 750"/>
                <a:gd name="T61" fmla="*/ 90 h 788"/>
                <a:gd name="T62" fmla="*/ 196 w 750"/>
                <a:gd name="T63" fmla="*/ 48 h 788"/>
                <a:gd name="T64" fmla="*/ 264 w 750"/>
                <a:gd name="T65" fmla="*/ 18 h 788"/>
                <a:gd name="T66" fmla="*/ 336 w 750"/>
                <a:gd name="T67" fmla="*/ 2 h 788"/>
                <a:gd name="T68" fmla="*/ 374 w 750"/>
                <a:gd name="T69" fmla="*/ 0 h 78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50"/>
                <a:gd name="T106" fmla="*/ 0 h 788"/>
                <a:gd name="T107" fmla="*/ 750 w 750"/>
                <a:gd name="T108" fmla="*/ 788 h 78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50" h="788">
                  <a:moveTo>
                    <a:pt x="374" y="0"/>
                  </a:moveTo>
                  <a:lnTo>
                    <a:pt x="374" y="0"/>
                  </a:lnTo>
                  <a:lnTo>
                    <a:pt x="412" y="2"/>
                  </a:lnTo>
                  <a:lnTo>
                    <a:pt x="450" y="8"/>
                  </a:lnTo>
                  <a:lnTo>
                    <a:pt x="486" y="18"/>
                  </a:lnTo>
                  <a:lnTo>
                    <a:pt x="520" y="32"/>
                  </a:lnTo>
                  <a:lnTo>
                    <a:pt x="552" y="48"/>
                  </a:lnTo>
                  <a:lnTo>
                    <a:pt x="584" y="68"/>
                  </a:lnTo>
                  <a:lnTo>
                    <a:pt x="612" y="90"/>
                  </a:lnTo>
                  <a:lnTo>
                    <a:pt x="640" y="116"/>
                  </a:lnTo>
                  <a:lnTo>
                    <a:pt x="664" y="144"/>
                  </a:lnTo>
                  <a:lnTo>
                    <a:pt x="686" y="174"/>
                  </a:lnTo>
                  <a:lnTo>
                    <a:pt x="704" y="206"/>
                  </a:lnTo>
                  <a:lnTo>
                    <a:pt x="720" y="242"/>
                  </a:lnTo>
                  <a:lnTo>
                    <a:pt x="732" y="278"/>
                  </a:lnTo>
                  <a:lnTo>
                    <a:pt x="742" y="316"/>
                  </a:lnTo>
                  <a:lnTo>
                    <a:pt x="748" y="354"/>
                  </a:lnTo>
                  <a:lnTo>
                    <a:pt x="750" y="394"/>
                  </a:lnTo>
                  <a:lnTo>
                    <a:pt x="748" y="434"/>
                  </a:lnTo>
                  <a:lnTo>
                    <a:pt x="742" y="474"/>
                  </a:lnTo>
                  <a:lnTo>
                    <a:pt x="732" y="512"/>
                  </a:lnTo>
                  <a:lnTo>
                    <a:pt x="720" y="548"/>
                  </a:lnTo>
                  <a:lnTo>
                    <a:pt x="704" y="582"/>
                  </a:lnTo>
                  <a:lnTo>
                    <a:pt x="686" y="614"/>
                  </a:lnTo>
                  <a:lnTo>
                    <a:pt x="664" y="644"/>
                  </a:lnTo>
                  <a:lnTo>
                    <a:pt x="640" y="672"/>
                  </a:lnTo>
                  <a:lnTo>
                    <a:pt x="612" y="698"/>
                  </a:lnTo>
                  <a:lnTo>
                    <a:pt x="584" y="720"/>
                  </a:lnTo>
                  <a:lnTo>
                    <a:pt x="552" y="740"/>
                  </a:lnTo>
                  <a:lnTo>
                    <a:pt x="520" y="758"/>
                  </a:lnTo>
                  <a:lnTo>
                    <a:pt x="486" y="770"/>
                  </a:lnTo>
                  <a:lnTo>
                    <a:pt x="450" y="780"/>
                  </a:lnTo>
                  <a:lnTo>
                    <a:pt x="412" y="786"/>
                  </a:lnTo>
                  <a:lnTo>
                    <a:pt x="374" y="788"/>
                  </a:lnTo>
                  <a:lnTo>
                    <a:pt x="336" y="786"/>
                  </a:lnTo>
                  <a:lnTo>
                    <a:pt x="300" y="780"/>
                  </a:lnTo>
                  <a:lnTo>
                    <a:pt x="264" y="770"/>
                  </a:lnTo>
                  <a:lnTo>
                    <a:pt x="230" y="758"/>
                  </a:lnTo>
                  <a:lnTo>
                    <a:pt x="196" y="740"/>
                  </a:lnTo>
                  <a:lnTo>
                    <a:pt x="166" y="720"/>
                  </a:lnTo>
                  <a:lnTo>
                    <a:pt x="136" y="698"/>
                  </a:lnTo>
                  <a:lnTo>
                    <a:pt x="110" y="672"/>
                  </a:lnTo>
                  <a:lnTo>
                    <a:pt x="86" y="644"/>
                  </a:lnTo>
                  <a:lnTo>
                    <a:pt x="64" y="614"/>
                  </a:lnTo>
                  <a:lnTo>
                    <a:pt x="46" y="582"/>
                  </a:lnTo>
                  <a:lnTo>
                    <a:pt x="30" y="548"/>
                  </a:lnTo>
                  <a:lnTo>
                    <a:pt x="18" y="512"/>
                  </a:lnTo>
                  <a:lnTo>
                    <a:pt x="8" y="474"/>
                  </a:lnTo>
                  <a:lnTo>
                    <a:pt x="2" y="434"/>
                  </a:lnTo>
                  <a:lnTo>
                    <a:pt x="0" y="394"/>
                  </a:lnTo>
                  <a:lnTo>
                    <a:pt x="2" y="354"/>
                  </a:lnTo>
                  <a:lnTo>
                    <a:pt x="8" y="316"/>
                  </a:lnTo>
                  <a:lnTo>
                    <a:pt x="18" y="278"/>
                  </a:lnTo>
                  <a:lnTo>
                    <a:pt x="30" y="242"/>
                  </a:lnTo>
                  <a:lnTo>
                    <a:pt x="46" y="206"/>
                  </a:lnTo>
                  <a:lnTo>
                    <a:pt x="64" y="174"/>
                  </a:lnTo>
                  <a:lnTo>
                    <a:pt x="86" y="144"/>
                  </a:lnTo>
                  <a:lnTo>
                    <a:pt x="110" y="116"/>
                  </a:lnTo>
                  <a:lnTo>
                    <a:pt x="136" y="90"/>
                  </a:lnTo>
                  <a:lnTo>
                    <a:pt x="166" y="68"/>
                  </a:lnTo>
                  <a:lnTo>
                    <a:pt x="196" y="48"/>
                  </a:lnTo>
                  <a:lnTo>
                    <a:pt x="230" y="32"/>
                  </a:lnTo>
                  <a:lnTo>
                    <a:pt x="264" y="18"/>
                  </a:lnTo>
                  <a:lnTo>
                    <a:pt x="300" y="8"/>
                  </a:lnTo>
                  <a:lnTo>
                    <a:pt x="336" y="2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FCCE0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11"/>
            <p:cNvSpPr>
              <a:spLocks/>
            </p:cNvSpPr>
            <p:nvPr/>
          </p:nvSpPr>
          <p:spPr bwMode="auto">
            <a:xfrm>
              <a:off x="4134" y="2493"/>
              <a:ext cx="726" cy="770"/>
            </a:xfrm>
            <a:custGeom>
              <a:avLst/>
              <a:gdLst>
                <a:gd name="T0" fmla="*/ 362 w 726"/>
                <a:gd name="T1" fmla="*/ 0 h 770"/>
                <a:gd name="T2" fmla="*/ 436 w 726"/>
                <a:gd name="T3" fmla="*/ 8 h 770"/>
                <a:gd name="T4" fmla="*/ 504 w 726"/>
                <a:gd name="T5" fmla="*/ 30 h 770"/>
                <a:gd name="T6" fmla="*/ 566 w 726"/>
                <a:gd name="T7" fmla="*/ 66 h 770"/>
                <a:gd name="T8" fmla="*/ 620 w 726"/>
                <a:gd name="T9" fmla="*/ 114 h 770"/>
                <a:gd name="T10" fmla="*/ 664 w 726"/>
                <a:gd name="T11" fmla="*/ 170 h 770"/>
                <a:gd name="T12" fmla="*/ 698 w 726"/>
                <a:gd name="T13" fmla="*/ 236 h 770"/>
                <a:gd name="T14" fmla="*/ 720 w 726"/>
                <a:gd name="T15" fmla="*/ 308 h 770"/>
                <a:gd name="T16" fmla="*/ 726 w 726"/>
                <a:gd name="T17" fmla="*/ 386 h 770"/>
                <a:gd name="T18" fmla="*/ 724 w 726"/>
                <a:gd name="T19" fmla="*/ 424 h 770"/>
                <a:gd name="T20" fmla="*/ 710 w 726"/>
                <a:gd name="T21" fmla="*/ 500 h 770"/>
                <a:gd name="T22" fmla="*/ 682 w 726"/>
                <a:gd name="T23" fmla="*/ 568 h 770"/>
                <a:gd name="T24" fmla="*/ 644 w 726"/>
                <a:gd name="T25" fmla="*/ 630 h 770"/>
                <a:gd name="T26" fmla="*/ 594 w 726"/>
                <a:gd name="T27" fmla="*/ 682 h 770"/>
                <a:gd name="T28" fmla="*/ 536 w 726"/>
                <a:gd name="T29" fmla="*/ 724 h 770"/>
                <a:gd name="T30" fmla="*/ 470 w 726"/>
                <a:gd name="T31" fmla="*/ 752 h 770"/>
                <a:gd name="T32" fmla="*/ 400 w 726"/>
                <a:gd name="T33" fmla="*/ 768 h 770"/>
                <a:gd name="T34" fmla="*/ 362 w 726"/>
                <a:gd name="T35" fmla="*/ 770 h 770"/>
                <a:gd name="T36" fmla="*/ 290 w 726"/>
                <a:gd name="T37" fmla="*/ 762 h 770"/>
                <a:gd name="T38" fmla="*/ 222 w 726"/>
                <a:gd name="T39" fmla="*/ 740 h 770"/>
                <a:gd name="T40" fmla="*/ 160 w 726"/>
                <a:gd name="T41" fmla="*/ 704 h 770"/>
                <a:gd name="T42" fmla="*/ 106 w 726"/>
                <a:gd name="T43" fmla="*/ 658 h 770"/>
                <a:gd name="T44" fmla="*/ 62 w 726"/>
                <a:gd name="T45" fmla="*/ 600 h 770"/>
                <a:gd name="T46" fmla="*/ 28 w 726"/>
                <a:gd name="T47" fmla="*/ 534 h 770"/>
                <a:gd name="T48" fmla="*/ 6 w 726"/>
                <a:gd name="T49" fmla="*/ 462 h 770"/>
                <a:gd name="T50" fmla="*/ 0 w 726"/>
                <a:gd name="T51" fmla="*/ 386 h 770"/>
                <a:gd name="T52" fmla="*/ 2 w 726"/>
                <a:gd name="T53" fmla="*/ 346 h 770"/>
                <a:gd name="T54" fmla="*/ 16 w 726"/>
                <a:gd name="T55" fmla="*/ 270 h 770"/>
                <a:gd name="T56" fmla="*/ 44 w 726"/>
                <a:gd name="T57" fmla="*/ 202 h 770"/>
                <a:gd name="T58" fmla="*/ 82 w 726"/>
                <a:gd name="T59" fmla="*/ 140 h 770"/>
                <a:gd name="T60" fmla="*/ 132 w 726"/>
                <a:gd name="T61" fmla="*/ 88 h 770"/>
                <a:gd name="T62" fmla="*/ 190 w 726"/>
                <a:gd name="T63" fmla="*/ 46 h 770"/>
                <a:gd name="T64" fmla="*/ 254 w 726"/>
                <a:gd name="T65" fmla="*/ 18 h 770"/>
                <a:gd name="T66" fmla="*/ 326 w 726"/>
                <a:gd name="T67" fmla="*/ 2 h 770"/>
                <a:gd name="T68" fmla="*/ 362 w 726"/>
                <a:gd name="T69" fmla="*/ 0 h 77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26"/>
                <a:gd name="T106" fmla="*/ 0 h 770"/>
                <a:gd name="T107" fmla="*/ 726 w 726"/>
                <a:gd name="T108" fmla="*/ 770 h 77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26" h="770">
                  <a:moveTo>
                    <a:pt x="362" y="0"/>
                  </a:moveTo>
                  <a:lnTo>
                    <a:pt x="362" y="0"/>
                  </a:lnTo>
                  <a:lnTo>
                    <a:pt x="400" y="2"/>
                  </a:lnTo>
                  <a:lnTo>
                    <a:pt x="436" y="8"/>
                  </a:lnTo>
                  <a:lnTo>
                    <a:pt x="470" y="18"/>
                  </a:lnTo>
                  <a:lnTo>
                    <a:pt x="504" y="30"/>
                  </a:lnTo>
                  <a:lnTo>
                    <a:pt x="536" y="46"/>
                  </a:lnTo>
                  <a:lnTo>
                    <a:pt x="566" y="66"/>
                  </a:lnTo>
                  <a:lnTo>
                    <a:pt x="594" y="88"/>
                  </a:lnTo>
                  <a:lnTo>
                    <a:pt x="620" y="114"/>
                  </a:lnTo>
                  <a:lnTo>
                    <a:pt x="644" y="140"/>
                  </a:lnTo>
                  <a:lnTo>
                    <a:pt x="664" y="170"/>
                  </a:lnTo>
                  <a:lnTo>
                    <a:pt x="682" y="202"/>
                  </a:lnTo>
                  <a:lnTo>
                    <a:pt x="698" y="236"/>
                  </a:lnTo>
                  <a:lnTo>
                    <a:pt x="710" y="270"/>
                  </a:lnTo>
                  <a:lnTo>
                    <a:pt x="720" y="308"/>
                  </a:lnTo>
                  <a:lnTo>
                    <a:pt x="724" y="346"/>
                  </a:lnTo>
                  <a:lnTo>
                    <a:pt x="726" y="386"/>
                  </a:lnTo>
                  <a:lnTo>
                    <a:pt x="724" y="424"/>
                  </a:lnTo>
                  <a:lnTo>
                    <a:pt x="720" y="462"/>
                  </a:lnTo>
                  <a:lnTo>
                    <a:pt x="710" y="500"/>
                  </a:lnTo>
                  <a:lnTo>
                    <a:pt x="698" y="534"/>
                  </a:lnTo>
                  <a:lnTo>
                    <a:pt x="682" y="568"/>
                  </a:lnTo>
                  <a:lnTo>
                    <a:pt x="664" y="600"/>
                  </a:lnTo>
                  <a:lnTo>
                    <a:pt x="644" y="630"/>
                  </a:lnTo>
                  <a:lnTo>
                    <a:pt x="620" y="658"/>
                  </a:lnTo>
                  <a:lnTo>
                    <a:pt x="594" y="682"/>
                  </a:lnTo>
                  <a:lnTo>
                    <a:pt x="566" y="704"/>
                  </a:lnTo>
                  <a:lnTo>
                    <a:pt x="536" y="724"/>
                  </a:lnTo>
                  <a:lnTo>
                    <a:pt x="504" y="740"/>
                  </a:lnTo>
                  <a:lnTo>
                    <a:pt x="470" y="752"/>
                  </a:lnTo>
                  <a:lnTo>
                    <a:pt x="436" y="762"/>
                  </a:lnTo>
                  <a:lnTo>
                    <a:pt x="400" y="768"/>
                  </a:lnTo>
                  <a:lnTo>
                    <a:pt x="362" y="770"/>
                  </a:lnTo>
                  <a:lnTo>
                    <a:pt x="326" y="768"/>
                  </a:lnTo>
                  <a:lnTo>
                    <a:pt x="290" y="762"/>
                  </a:lnTo>
                  <a:lnTo>
                    <a:pt x="254" y="752"/>
                  </a:lnTo>
                  <a:lnTo>
                    <a:pt x="222" y="740"/>
                  </a:lnTo>
                  <a:lnTo>
                    <a:pt x="190" y="724"/>
                  </a:lnTo>
                  <a:lnTo>
                    <a:pt x="160" y="704"/>
                  </a:lnTo>
                  <a:lnTo>
                    <a:pt x="132" y="682"/>
                  </a:lnTo>
                  <a:lnTo>
                    <a:pt x="106" y="658"/>
                  </a:lnTo>
                  <a:lnTo>
                    <a:pt x="82" y="630"/>
                  </a:lnTo>
                  <a:lnTo>
                    <a:pt x="62" y="600"/>
                  </a:lnTo>
                  <a:lnTo>
                    <a:pt x="44" y="568"/>
                  </a:lnTo>
                  <a:lnTo>
                    <a:pt x="28" y="534"/>
                  </a:lnTo>
                  <a:lnTo>
                    <a:pt x="16" y="500"/>
                  </a:lnTo>
                  <a:lnTo>
                    <a:pt x="6" y="462"/>
                  </a:lnTo>
                  <a:lnTo>
                    <a:pt x="2" y="424"/>
                  </a:lnTo>
                  <a:lnTo>
                    <a:pt x="0" y="386"/>
                  </a:lnTo>
                  <a:lnTo>
                    <a:pt x="2" y="346"/>
                  </a:lnTo>
                  <a:lnTo>
                    <a:pt x="6" y="308"/>
                  </a:lnTo>
                  <a:lnTo>
                    <a:pt x="16" y="270"/>
                  </a:lnTo>
                  <a:lnTo>
                    <a:pt x="28" y="236"/>
                  </a:lnTo>
                  <a:lnTo>
                    <a:pt x="44" y="202"/>
                  </a:lnTo>
                  <a:lnTo>
                    <a:pt x="62" y="170"/>
                  </a:lnTo>
                  <a:lnTo>
                    <a:pt x="82" y="140"/>
                  </a:lnTo>
                  <a:lnTo>
                    <a:pt x="106" y="114"/>
                  </a:lnTo>
                  <a:lnTo>
                    <a:pt x="132" y="88"/>
                  </a:lnTo>
                  <a:lnTo>
                    <a:pt x="160" y="66"/>
                  </a:lnTo>
                  <a:lnTo>
                    <a:pt x="190" y="46"/>
                  </a:lnTo>
                  <a:lnTo>
                    <a:pt x="222" y="30"/>
                  </a:lnTo>
                  <a:lnTo>
                    <a:pt x="254" y="18"/>
                  </a:lnTo>
                  <a:lnTo>
                    <a:pt x="290" y="8"/>
                  </a:lnTo>
                  <a:lnTo>
                    <a:pt x="326" y="2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FCD10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12"/>
            <p:cNvSpPr>
              <a:spLocks/>
            </p:cNvSpPr>
            <p:nvPr/>
          </p:nvSpPr>
          <p:spPr bwMode="auto">
            <a:xfrm>
              <a:off x="4148" y="2501"/>
              <a:ext cx="706" cy="752"/>
            </a:xfrm>
            <a:custGeom>
              <a:avLst/>
              <a:gdLst>
                <a:gd name="T0" fmla="*/ 354 w 706"/>
                <a:gd name="T1" fmla="*/ 0 h 752"/>
                <a:gd name="T2" fmla="*/ 424 w 706"/>
                <a:gd name="T3" fmla="*/ 8 h 752"/>
                <a:gd name="T4" fmla="*/ 490 w 706"/>
                <a:gd name="T5" fmla="*/ 30 h 752"/>
                <a:gd name="T6" fmla="*/ 550 w 706"/>
                <a:gd name="T7" fmla="*/ 64 h 752"/>
                <a:gd name="T8" fmla="*/ 602 w 706"/>
                <a:gd name="T9" fmla="*/ 110 h 752"/>
                <a:gd name="T10" fmla="*/ 646 w 706"/>
                <a:gd name="T11" fmla="*/ 166 h 752"/>
                <a:gd name="T12" fmla="*/ 678 w 706"/>
                <a:gd name="T13" fmla="*/ 230 h 752"/>
                <a:gd name="T14" fmla="*/ 698 w 706"/>
                <a:gd name="T15" fmla="*/ 300 h 752"/>
                <a:gd name="T16" fmla="*/ 706 w 706"/>
                <a:gd name="T17" fmla="*/ 376 h 752"/>
                <a:gd name="T18" fmla="*/ 704 w 706"/>
                <a:gd name="T19" fmla="*/ 414 h 752"/>
                <a:gd name="T20" fmla="*/ 690 w 706"/>
                <a:gd name="T21" fmla="*/ 488 h 752"/>
                <a:gd name="T22" fmla="*/ 664 w 706"/>
                <a:gd name="T23" fmla="*/ 556 h 752"/>
                <a:gd name="T24" fmla="*/ 626 w 706"/>
                <a:gd name="T25" fmla="*/ 616 h 752"/>
                <a:gd name="T26" fmla="*/ 578 w 706"/>
                <a:gd name="T27" fmla="*/ 666 h 752"/>
                <a:gd name="T28" fmla="*/ 520 w 706"/>
                <a:gd name="T29" fmla="*/ 706 h 752"/>
                <a:gd name="T30" fmla="*/ 458 w 706"/>
                <a:gd name="T31" fmla="*/ 736 h 752"/>
                <a:gd name="T32" fmla="*/ 390 w 706"/>
                <a:gd name="T33" fmla="*/ 750 h 752"/>
                <a:gd name="T34" fmla="*/ 354 w 706"/>
                <a:gd name="T35" fmla="*/ 752 h 752"/>
                <a:gd name="T36" fmla="*/ 282 w 706"/>
                <a:gd name="T37" fmla="*/ 744 h 752"/>
                <a:gd name="T38" fmla="*/ 216 w 706"/>
                <a:gd name="T39" fmla="*/ 722 h 752"/>
                <a:gd name="T40" fmla="*/ 156 w 706"/>
                <a:gd name="T41" fmla="*/ 688 h 752"/>
                <a:gd name="T42" fmla="*/ 104 w 706"/>
                <a:gd name="T43" fmla="*/ 642 h 752"/>
                <a:gd name="T44" fmla="*/ 60 w 706"/>
                <a:gd name="T45" fmla="*/ 586 h 752"/>
                <a:gd name="T46" fmla="*/ 28 w 706"/>
                <a:gd name="T47" fmla="*/ 522 h 752"/>
                <a:gd name="T48" fmla="*/ 8 w 706"/>
                <a:gd name="T49" fmla="*/ 452 h 752"/>
                <a:gd name="T50" fmla="*/ 0 w 706"/>
                <a:gd name="T51" fmla="*/ 376 h 752"/>
                <a:gd name="T52" fmla="*/ 2 w 706"/>
                <a:gd name="T53" fmla="*/ 338 h 752"/>
                <a:gd name="T54" fmla="*/ 16 w 706"/>
                <a:gd name="T55" fmla="*/ 264 h 752"/>
                <a:gd name="T56" fmla="*/ 42 w 706"/>
                <a:gd name="T57" fmla="*/ 198 h 752"/>
                <a:gd name="T58" fmla="*/ 82 w 706"/>
                <a:gd name="T59" fmla="*/ 138 h 752"/>
                <a:gd name="T60" fmla="*/ 128 w 706"/>
                <a:gd name="T61" fmla="*/ 86 h 752"/>
                <a:gd name="T62" fmla="*/ 186 w 706"/>
                <a:gd name="T63" fmla="*/ 46 h 752"/>
                <a:gd name="T64" fmla="*/ 248 w 706"/>
                <a:gd name="T65" fmla="*/ 18 h 752"/>
                <a:gd name="T66" fmla="*/ 318 w 706"/>
                <a:gd name="T67" fmla="*/ 2 h 752"/>
                <a:gd name="T68" fmla="*/ 354 w 706"/>
                <a:gd name="T69" fmla="*/ 0 h 7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06"/>
                <a:gd name="T106" fmla="*/ 0 h 752"/>
                <a:gd name="T107" fmla="*/ 706 w 706"/>
                <a:gd name="T108" fmla="*/ 752 h 7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06" h="752">
                  <a:moveTo>
                    <a:pt x="354" y="0"/>
                  </a:moveTo>
                  <a:lnTo>
                    <a:pt x="354" y="0"/>
                  </a:lnTo>
                  <a:lnTo>
                    <a:pt x="390" y="2"/>
                  </a:lnTo>
                  <a:lnTo>
                    <a:pt x="424" y="8"/>
                  </a:lnTo>
                  <a:lnTo>
                    <a:pt x="458" y="18"/>
                  </a:lnTo>
                  <a:lnTo>
                    <a:pt x="490" y="30"/>
                  </a:lnTo>
                  <a:lnTo>
                    <a:pt x="520" y="46"/>
                  </a:lnTo>
                  <a:lnTo>
                    <a:pt x="550" y="64"/>
                  </a:lnTo>
                  <a:lnTo>
                    <a:pt x="578" y="86"/>
                  </a:lnTo>
                  <a:lnTo>
                    <a:pt x="602" y="110"/>
                  </a:lnTo>
                  <a:lnTo>
                    <a:pt x="626" y="138"/>
                  </a:lnTo>
                  <a:lnTo>
                    <a:pt x="646" y="166"/>
                  </a:lnTo>
                  <a:lnTo>
                    <a:pt x="664" y="198"/>
                  </a:lnTo>
                  <a:lnTo>
                    <a:pt x="678" y="230"/>
                  </a:lnTo>
                  <a:lnTo>
                    <a:pt x="690" y="264"/>
                  </a:lnTo>
                  <a:lnTo>
                    <a:pt x="698" y="300"/>
                  </a:lnTo>
                  <a:lnTo>
                    <a:pt x="704" y="338"/>
                  </a:lnTo>
                  <a:lnTo>
                    <a:pt x="706" y="376"/>
                  </a:lnTo>
                  <a:lnTo>
                    <a:pt x="704" y="414"/>
                  </a:lnTo>
                  <a:lnTo>
                    <a:pt x="698" y="452"/>
                  </a:lnTo>
                  <a:lnTo>
                    <a:pt x="690" y="488"/>
                  </a:lnTo>
                  <a:lnTo>
                    <a:pt x="678" y="522"/>
                  </a:lnTo>
                  <a:lnTo>
                    <a:pt x="664" y="556"/>
                  </a:lnTo>
                  <a:lnTo>
                    <a:pt x="646" y="586"/>
                  </a:lnTo>
                  <a:lnTo>
                    <a:pt x="626" y="616"/>
                  </a:lnTo>
                  <a:lnTo>
                    <a:pt x="602" y="642"/>
                  </a:lnTo>
                  <a:lnTo>
                    <a:pt x="578" y="666"/>
                  </a:lnTo>
                  <a:lnTo>
                    <a:pt x="550" y="688"/>
                  </a:lnTo>
                  <a:lnTo>
                    <a:pt x="520" y="706"/>
                  </a:lnTo>
                  <a:lnTo>
                    <a:pt x="490" y="722"/>
                  </a:lnTo>
                  <a:lnTo>
                    <a:pt x="458" y="736"/>
                  </a:lnTo>
                  <a:lnTo>
                    <a:pt x="424" y="744"/>
                  </a:lnTo>
                  <a:lnTo>
                    <a:pt x="390" y="750"/>
                  </a:lnTo>
                  <a:lnTo>
                    <a:pt x="354" y="752"/>
                  </a:lnTo>
                  <a:lnTo>
                    <a:pt x="318" y="750"/>
                  </a:lnTo>
                  <a:lnTo>
                    <a:pt x="282" y="744"/>
                  </a:lnTo>
                  <a:lnTo>
                    <a:pt x="248" y="736"/>
                  </a:lnTo>
                  <a:lnTo>
                    <a:pt x="216" y="722"/>
                  </a:lnTo>
                  <a:lnTo>
                    <a:pt x="186" y="706"/>
                  </a:lnTo>
                  <a:lnTo>
                    <a:pt x="156" y="688"/>
                  </a:lnTo>
                  <a:lnTo>
                    <a:pt x="128" y="666"/>
                  </a:lnTo>
                  <a:lnTo>
                    <a:pt x="104" y="642"/>
                  </a:lnTo>
                  <a:lnTo>
                    <a:pt x="82" y="616"/>
                  </a:lnTo>
                  <a:lnTo>
                    <a:pt x="60" y="586"/>
                  </a:lnTo>
                  <a:lnTo>
                    <a:pt x="42" y="556"/>
                  </a:lnTo>
                  <a:lnTo>
                    <a:pt x="28" y="522"/>
                  </a:lnTo>
                  <a:lnTo>
                    <a:pt x="16" y="488"/>
                  </a:lnTo>
                  <a:lnTo>
                    <a:pt x="8" y="452"/>
                  </a:lnTo>
                  <a:lnTo>
                    <a:pt x="2" y="414"/>
                  </a:lnTo>
                  <a:lnTo>
                    <a:pt x="0" y="376"/>
                  </a:lnTo>
                  <a:lnTo>
                    <a:pt x="2" y="338"/>
                  </a:lnTo>
                  <a:lnTo>
                    <a:pt x="8" y="300"/>
                  </a:lnTo>
                  <a:lnTo>
                    <a:pt x="16" y="264"/>
                  </a:lnTo>
                  <a:lnTo>
                    <a:pt x="28" y="230"/>
                  </a:lnTo>
                  <a:lnTo>
                    <a:pt x="42" y="198"/>
                  </a:lnTo>
                  <a:lnTo>
                    <a:pt x="60" y="166"/>
                  </a:lnTo>
                  <a:lnTo>
                    <a:pt x="82" y="138"/>
                  </a:lnTo>
                  <a:lnTo>
                    <a:pt x="104" y="110"/>
                  </a:lnTo>
                  <a:lnTo>
                    <a:pt x="128" y="86"/>
                  </a:lnTo>
                  <a:lnTo>
                    <a:pt x="156" y="64"/>
                  </a:lnTo>
                  <a:lnTo>
                    <a:pt x="186" y="46"/>
                  </a:lnTo>
                  <a:lnTo>
                    <a:pt x="216" y="30"/>
                  </a:lnTo>
                  <a:lnTo>
                    <a:pt x="248" y="18"/>
                  </a:lnTo>
                  <a:lnTo>
                    <a:pt x="282" y="8"/>
                  </a:lnTo>
                  <a:lnTo>
                    <a:pt x="318" y="2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CD60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213"/>
            <p:cNvSpPr>
              <a:spLocks/>
            </p:cNvSpPr>
            <p:nvPr/>
          </p:nvSpPr>
          <p:spPr bwMode="auto">
            <a:xfrm>
              <a:off x="4164" y="2509"/>
              <a:ext cx="684" cy="734"/>
            </a:xfrm>
            <a:custGeom>
              <a:avLst/>
              <a:gdLst>
                <a:gd name="T0" fmla="*/ 342 w 684"/>
                <a:gd name="T1" fmla="*/ 0 h 734"/>
                <a:gd name="T2" fmla="*/ 410 w 684"/>
                <a:gd name="T3" fmla="*/ 8 h 734"/>
                <a:gd name="T4" fmla="*/ 474 w 684"/>
                <a:gd name="T5" fmla="*/ 30 h 734"/>
                <a:gd name="T6" fmla="*/ 532 w 684"/>
                <a:gd name="T7" fmla="*/ 62 h 734"/>
                <a:gd name="T8" fmla="*/ 582 w 684"/>
                <a:gd name="T9" fmla="*/ 108 h 734"/>
                <a:gd name="T10" fmla="*/ 624 w 684"/>
                <a:gd name="T11" fmla="*/ 162 h 734"/>
                <a:gd name="T12" fmla="*/ 656 w 684"/>
                <a:gd name="T13" fmla="*/ 224 h 734"/>
                <a:gd name="T14" fmla="*/ 676 w 684"/>
                <a:gd name="T15" fmla="*/ 294 h 734"/>
                <a:gd name="T16" fmla="*/ 684 w 684"/>
                <a:gd name="T17" fmla="*/ 368 h 734"/>
                <a:gd name="T18" fmla="*/ 682 w 684"/>
                <a:gd name="T19" fmla="*/ 404 h 734"/>
                <a:gd name="T20" fmla="*/ 668 w 684"/>
                <a:gd name="T21" fmla="*/ 476 h 734"/>
                <a:gd name="T22" fmla="*/ 642 w 684"/>
                <a:gd name="T23" fmla="*/ 542 h 734"/>
                <a:gd name="T24" fmla="*/ 604 w 684"/>
                <a:gd name="T25" fmla="*/ 600 h 734"/>
                <a:gd name="T26" fmla="*/ 558 w 684"/>
                <a:gd name="T27" fmla="*/ 650 h 734"/>
                <a:gd name="T28" fmla="*/ 504 w 684"/>
                <a:gd name="T29" fmla="*/ 690 h 734"/>
                <a:gd name="T30" fmla="*/ 442 w 684"/>
                <a:gd name="T31" fmla="*/ 718 h 734"/>
                <a:gd name="T32" fmla="*/ 376 w 684"/>
                <a:gd name="T33" fmla="*/ 732 h 734"/>
                <a:gd name="T34" fmla="*/ 342 w 684"/>
                <a:gd name="T35" fmla="*/ 734 h 734"/>
                <a:gd name="T36" fmla="*/ 272 w 684"/>
                <a:gd name="T37" fmla="*/ 726 h 734"/>
                <a:gd name="T38" fmla="*/ 208 w 684"/>
                <a:gd name="T39" fmla="*/ 706 h 734"/>
                <a:gd name="T40" fmla="*/ 150 w 684"/>
                <a:gd name="T41" fmla="*/ 672 h 734"/>
                <a:gd name="T42" fmla="*/ 100 w 684"/>
                <a:gd name="T43" fmla="*/ 626 h 734"/>
                <a:gd name="T44" fmla="*/ 58 w 684"/>
                <a:gd name="T45" fmla="*/ 572 h 734"/>
                <a:gd name="T46" fmla="*/ 26 w 684"/>
                <a:gd name="T47" fmla="*/ 510 h 734"/>
                <a:gd name="T48" fmla="*/ 6 w 684"/>
                <a:gd name="T49" fmla="*/ 440 h 734"/>
                <a:gd name="T50" fmla="*/ 0 w 684"/>
                <a:gd name="T51" fmla="*/ 368 h 734"/>
                <a:gd name="T52" fmla="*/ 2 w 684"/>
                <a:gd name="T53" fmla="*/ 330 h 734"/>
                <a:gd name="T54" fmla="*/ 14 w 684"/>
                <a:gd name="T55" fmla="*/ 258 h 734"/>
                <a:gd name="T56" fmla="*/ 40 w 684"/>
                <a:gd name="T57" fmla="*/ 192 h 734"/>
                <a:gd name="T58" fmla="*/ 78 w 684"/>
                <a:gd name="T59" fmla="*/ 134 h 734"/>
                <a:gd name="T60" fmla="*/ 124 w 684"/>
                <a:gd name="T61" fmla="*/ 84 h 734"/>
                <a:gd name="T62" fmla="*/ 178 w 684"/>
                <a:gd name="T63" fmla="*/ 44 h 734"/>
                <a:gd name="T64" fmla="*/ 240 w 684"/>
                <a:gd name="T65" fmla="*/ 16 h 734"/>
                <a:gd name="T66" fmla="*/ 306 w 684"/>
                <a:gd name="T67" fmla="*/ 2 h 734"/>
                <a:gd name="T68" fmla="*/ 342 w 684"/>
                <a:gd name="T69" fmla="*/ 0 h 7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84"/>
                <a:gd name="T106" fmla="*/ 0 h 734"/>
                <a:gd name="T107" fmla="*/ 684 w 684"/>
                <a:gd name="T108" fmla="*/ 734 h 7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84" h="734">
                  <a:moveTo>
                    <a:pt x="342" y="0"/>
                  </a:moveTo>
                  <a:lnTo>
                    <a:pt x="342" y="0"/>
                  </a:lnTo>
                  <a:lnTo>
                    <a:pt x="376" y="2"/>
                  </a:lnTo>
                  <a:lnTo>
                    <a:pt x="410" y="8"/>
                  </a:lnTo>
                  <a:lnTo>
                    <a:pt x="442" y="16"/>
                  </a:lnTo>
                  <a:lnTo>
                    <a:pt x="474" y="30"/>
                  </a:lnTo>
                  <a:lnTo>
                    <a:pt x="504" y="44"/>
                  </a:lnTo>
                  <a:lnTo>
                    <a:pt x="532" y="62"/>
                  </a:lnTo>
                  <a:lnTo>
                    <a:pt x="558" y="84"/>
                  </a:lnTo>
                  <a:lnTo>
                    <a:pt x="582" y="108"/>
                  </a:lnTo>
                  <a:lnTo>
                    <a:pt x="604" y="134"/>
                  </a:lnTo>
                  <a:lnTo>
                    <a:pt x="624" y="162"/>
                  </a:lnTo>
                  <a:lnTo>
                    <a:pt x="642" y="192"/>
                  </a:lnTo>
                  <a:lnTo>
                    <a:pt x="656" y="224"/>
                  </a:lnTo>
                  <a:lnTo>
                    <a:pt x="668" y="258"/>
                  </a:lnTo>
                  <a:lnTo>
                    <a:pt x="676" y="294"/>
                  </a:lnTo>
                  <a:lnTo>
                    <a:pt x="682" y="330"/>
                  </a:lnTo>
                  <a:lnTo>
                    <a:pt x="684" y="368"/>
                  </a:lnTo>
                  <a:lnTo>
                    <a:pt x="682" y="404"/>
                  </a:lnTo>
                  <a:lnTo>
                    <a:pt x="676" y="440"/>
                  </a:lnTo>
                  <a:lnTo>
                    <a:pt x="668" y="476"/>
                  </a:lnTo>
                  <a:lnTo>
                    <a:pt x="656" y="510"/>
                  </a:lnTo>
                  <a:lnTo>
                    <a:pt x="642" y="542"/>
                  </a:lnTo>
                  <a:lnTo>
                    <a:pt x="624" y="572"/>
                  </a:lnTo>
                  <a:lnTo>
                    <a:pt x="604" y="600"/>
                  </a:lnTo>
                  <a:lnTo>
                    <a:pt x="582" y="626"/>
                  </a:lnTo>
                  <a:lnTo>
                    <a:pt x="558" y="650"/>
                  </a:lnTo>
                  <a:lnTo>
                    <a:pt x="532" y="672"/>
                  </a:lnTo>
                  <a:lnTo>
                    <a:pt x="504" y="690"/>
                  </a:lnTo>
                  <a:lnTo>
                    <a:pt x="474" y="706"/>
                  </a:lnTo>
                  <a:lnTo>
                    <a:pt x="442" y="718"/>
                  </a:lnTo>
                  <a:lnTo>
                    <a:pt x="410" y="726"/>
                  </a:lnTo>
                  <a:lnTo>
                    <a:pt x="376" y="732"/>
                  </a:lnTo>
                  <a:lnTo>
                    <a:pt x="342" y="734"/>
                  </a:lnTo>
                  <a:lnTo>
                    <a:pt x="306" y="732"/>
                  </a:lnTo>
                  <a:lnTo>
                    <a:pt x="272" y="726"/>
                  </a:lnTo>
                  <a:lnTo>
                    <a:pt x="240" y="718"/>
                  </a:lnTo>
                  <a:lnTo>
                    <a:pt x="208" y="706"/>
                  </a:lnTo>
                  <a:lnTo>
                    <a:pt x="178" y="690"/>
                  </a:lnTo>
                  <a:lnTo>
                    <a:pt x="150" y="672"/>
                  </a:lnTo>
                  <a:lnTo>
                    <a:pt x="124" y="650"/>
                  </a:lnTo>
                  <a:lnTo>
                    <a:pt x="100" y="626"/>
                  </a:lnTo>
                  <a:lnTo>
                    <a:pt x="78" y="600"/>
                  </a:lnTo>
                  <a:lnTo>
                    <a:pt x="58" y="572"/>
                  </a:lnTo>
                  <a:lnTo>
                    <a:pt x="40" y="542"/>
                  </a:lnTo>
                  <a:lnTo>
                    <a:pt x="26" y="510"/>
                  </a:lnTo>
                  <a:lnTo>
                    <a:pt x="14" y="476"/>
                  </a:lnTo>
                  <a:lnTo>
                    <a:pt x="6" y="440"/>
                  </a:lnTo>
                  <a:lnTo>
                    <a:pt x="2" y="404"/>
                  </a:lnTo>
                  <a:lnTo>
                    <a:pt x="0" y="368"/>
                  </a:lnTo>
                  <a:lnTo>
                    <a:pt x="2" y="330"/>
                  </a:lnTo>
                  <a:lnTo>
                    <a:pt x="6" y="294"/>
                  </a:lnTo>
                  <a:lnTo>
                    <a:pt x="14" y="258"/>
                  </a:lnTo>
                  <a:lnTo>
                    <a:pt x="26" y="224"/>
                  </a:lnTo>
                  <a:lnTo>
                    <a:pt x="40" y="192"/>
                  </a:lnTo>
                  <a:lnTo>
                    <a:pt x="58" y="162"/>
                  </a:lnTo>
                  <a:lnTo>
                    <a:pt x="78" y="134"/>
                  </a:lnTo>
                  <a:lnTo>
                    <a:pt x="100" y="108"/>
                  </a:lnTo>
                  <a:lnTo>
                    <a:pt x="124" y="84"/>
                  </a:lnTo>
                  <a:lnTo>
                    <a:pt x="150" y="62"/>
                  </a:lnTo>
                  <a:lnTo>
                    <a:pt x="178" y="44"/>
                  </a:lnTo>
                  <a:lnTo>
                    <a:pt x="208" y="30"/>
                  </a:lnTo>
                  <a:lnTo>
                    <a:pt x="240" y="16"/>
                  </a:lnTo>
                  <a:lnTo>
                    <a:pt x="272" y="8"/>
                  </a:lnTo>
                  <a:lnTo>
                    <a:pt x="306" y="2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FAD70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214"/>
            <p:cNvSpPr>
              <a:spLocks/>
            </p:cNvSpPr>
            <p:nvPr/>
          </p:nvSpPr>
          <p:spPr bwMode="auto">
            <a:xfrm>
              <a:off x="4178" y="2517"/>
              <a:ext cx="662" cy="716"/>
            </a:xfrm>
            <a:custGeom>
              <a:avLst/>
              <a:gdLst>
                <a:gd name="T0" fmla="*/ 332 w 662"/>
                <a:gd name="T1" fmla="*/ 0 h 716"/>
                <a:gd name="T2" fmla="*/ 398 w 662"/>
                <a:gd name="T3" fmla="*/ 8 h 716"/>
                <a:gd name="T4" fmla="*/ 460 w 662"/>
                <a:gd name="T5" fmla="*/ 28 h 716"/>
                <a:gd name="T6" fmla="*/ 516 w 662"/>
                <a:gd name="T7" fmla="*/ 62 h 716"/>
                <a:gd name="T8" fmla="*/ 566 w 662"/>
                <a:gd name="T9" fmla="*/ 106 h 716"/>
                <a:gd name="T10" fmla="*/ 606 w 662"/>
                <a:gd name="T11" fmla="*/ 158 h 716"/>
                <a:gd name="T12" fmla="*/ 636 w 662"/>
                <a:gd name="T13" fmla="*/ 218 h 716"/>
                <a:gd name="T14" fmla="*/ 656 w 662"/>
                <a:gd name="T15" fmla="*/ 286 h 716"/>
                <a:gd name="T16" fmla="*/ 662 w 662"/>
                <a:gd name="T17" fmla="*/ 358 h 716"/>
                <a:gd name="T18" fmla="*/ 660 w 662"/>
                <a:gd name="T19" fmla="*/ 394 h 716"/>
                <a:gd name="T20" fmla="*/ 648 w 662"/>
                <a:gd name="T21" fmla="*/ 464 h 716"/>
                <a:gd name="T22" fmla="*/ 622 w 662"/>
                <a:gd name="T23" fmla="*/ 528 h 716"/>
                <a:gd name="T24" fmla="*/ 586 w 662"/>
                <a:gd name="T25" fmla="*/ 586 h 716"/>
                <a:gd name="T26" fmla="*/ 542 w 662"/>
                <a:gd name="T27" fmla="*/ 634 h 716"/>
                <a:gd name="T28" fmla="*/ 488 w 662"/>
                <a:gd name="T29" fmla="*/ 672 h 716"/>
                <a:gd name="T30" fmla="*/ 430 w 662"/>
                <a:gd name="T31" fmla="*/ 700 h 716"/>
                <a:gd name="T32" fmla="*/ 366 w 662"/>
                <a:gd name="T33" fmla="*/ 714 h 716"/>
                <a:gd name="T34" fmla="*/ 332 w 662"/>
                <a:gd name="T35" fmla="*/ 716 h 716"/>
                <a:gd name="T36" fmla="*/ 264 w 662"/>
                <a:gd name="T37" fmla="*/ 708 h 716"/>
                <a:gd name="T38" fmla="*/ 202 w 662"/>
                <a:gd name="T39" fmla="*/ 688 h 716"/>
                <a:gd name="T40" fmla="*/ 146 w 662"/>
                <a:gd name="T41" fmla="*/ 654 h 716"/>
                <a:gd name="T42" fmla="*/ 98 w 662"/>
                <a:gd name="T43" fmla="*/ 610 h 716"/>
                <a:gd name="T44" fmla="*/ 58 w 662"/>
                <a:gd name="T45" fmla="*/ 558 h 716"/>
                <a:gd name="T46" fmla="*/ 26 w 662"/>
                <a:gd name="T47" fmla="*/ 498 h 716"/>
                <a:gd name="T48" fmla="*/ 8 w 662"/>
                <a:gd name="T49" fmla="*/ 430 h 716"/>
                <a:gd name="T50" fmla="*/ 0 w 662"/>
                <a:gd name="T51" fmla="*/ 358 h 716"/>
                <a:gd name="T52" fmla="*/ 2 w 662"/>
                <a:gd name="T53" fmla="*/ 322 h 716"/>
                <a:gd name="T54" fmla="*/ 16 w 662"/>
                <a:gd name="T55" fmla="*/ 252 h 716"/>
                <a:gd name="T56" fmla="*/ 40 w 662"/>
                <a:gd name="T57" fmla="*/ 188 h 716"/>
                <a:gd name="T58" fmla="*/ 76 w 662"/>
                <a:gd name="T59" fmla="*/ 130 h 716"/>
                <a:gd name="T60" fmla="*/ 122 w 662"/>
                <a:gd name="T61" fmla="*/ 82 h 716"/>
                <a:gd name="T62" fmla="*/ 174 w 662"/>
                <a:gd name="T63" fmla="*/ 44 h 716"/>
                <a:gd name="T64" fmla="*/ 234 w 662"/>
                <a:gd name="T65" fmla="*/ 16 h 716"/>
                <a:gd name="T66" fmla="*/ 298 w 662"/>
                <a:gd name="T67" fmla="*/ 2 h 716"/>
                <a:gd name="T68" fmla="*/ 332 w 662"/>
                <a:gd name="T69" fmla="*/ 0 h 71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62"/>
                <a:gd name="T106" fmla="*/ 0 h 716"/>
                <a:gd name="T107" fmla="*/ 662 w 662"/>
                <a:gd name="T108" fmla="*/ 716 h 71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62" h="716">
                  <a:moveTo>
                    <a:pt x="332" y="0"/>
                  </a:moveTo>
                  <a:lnTo>
                    <a:pt x="332" y="0"/>
                  </a:lnTo>
                  <a:lnTo>
                    <a:pt x="366" y="2"/>
                  </a:lnTo>
                  <a:lnTo>
                    <a:pt x="398" y="8"/>
                  </a:lnTo>
                  <a:lnTo>
                    <a:pt x="430" y="16"/>
                  </a:lnTo>
                  <a:lnTo>
                    <a:pt x="460" y="28"/>
                  </a:lnTo>
                  <a:lnTo>
                    <a:pt x="488" y="44"/>
                  </a:lnTo>
                  <a:lnTo>
                    <a:pt x="516" y="62"/>
                  </a:lnTo>
                  <a:lnTo>
                    <a:pt x="542" y="82"/>
                  </a:lnTo>
                  <a:lnTo>
                    <a:pt x="566" y="106"/>
                  </a:lnTo>
                  <a:lnTo>
                    <a:pt x="586" y="130"/>
                  </a:lnTo>
                  <a:lnTo>
                    <a:pt x="606" y="158"/>
                  </a:lnTo>
                  <a:lnTo>
                    <a:pt x="622" y="188"/>
                  </a:lnTo>
                  <a:lnTo>
                    <a:pt x="636" y="218"/>
                  </a:lnTo>
                  <a:lnTo>
                    <a:pt x="648" y="252"/>
                  </a:lnTo>
                  <a:lnTo>
                    <a:pt x="656" y="286"/>
                  </a:lnTo>
                  <a:lnTo>
                    <a:pt x="660" y="322"/>
                  </a:lnTo>
                  <a:lnTo>
                    <a:pt x="662" y="358"/>
                  </a:lnTo>
                  <a:lnTo>
                    <a:pt x="660" y="394"/>
                  </a:lnTo>
                  <a:lnTo>
                    <a:pt x="656" y="430"/>
                  </a:lnTo>
                  <a:lnTo>
                    <a:pt x="648" y="464"/>
                  </a:lnTo>
                  <a:lnTo>
                    <a:pt x="636" y="498"/>
                  </a:lnTo>
                  <a:lnTo>
                    <a:pt x="622" y="528"/>
                  </a:lnTo>
                  <a:lnTo>
                    <a:pt x="606" y="558"/>
                  </a:lnTo>
                  <a:lnTo>
                    <a:pt x="586" y="586"/>
                  </a:lnTo>
                  <a:lnTo>
                    <a:pt x="566" y="610"/>
                  </a:lnTo>
                  <a:lnTo>
                    <a:pt x="542" y="634"/>
                  </a:lnTo>
                  <a:lnTo>
                    <a:pt x="516" y="654"/>
                  </a:lnTo>
                  <a:lnTo>
                    <a:pt x="488" y="672"/>
                  </a:lnTo>
                  <a:lnTo>
                    <a:pt x="460" y="688"/>
                  </a:lnTo>
                  <a:lnTo>
                    <a:pt x="430" y="700"/>
                  </a:lnTo>
                  <a:lnTo>
                    <a:pt x="398" y="708"/>
                  </a:lnTo>
                  <a:lnTo>
                    <a:pt x="366" y="714"/>
                  </a:lnTo>
                  <a:lnTo>
                    <a:pt x="332" y="716"/>
                  </a:lnTo>
                  <a:lnTo>
                    <a:pt x="298" y="714"/>
                  </a:lnTo>
                  <a:lnTo>
                    <a:pt x="264" y="708"/>
                  </a:lnTo>
                  <a:lnTo>
                    <a:pt x="234" y="700"/>
                  </a:lnTo>
                  <a:lnTo>
                    <a:pt x="202" y="688"/>
                  </a:lnTo>
                  <a:lnTo>
                    <a:pt x="174" y="672"/>
                  </a:lnTo>
                  <a:lnTo>
                    <a:pt x="146" y="654"/>
                  </a:lnTo>
                  <a:lnTo>
                    <a:pt x="122" y="634"/>
                  </a:lnTo>
                  <a:lnTo>
                    <a:pt x="98" y="610"/>
                  </a:lnTo>
                  <a:lnTo>
                    <a:pt x="76" y="586"/>
                  </a:lnTo>
                  <a:lnTo>
                    <a:pt x="58" y="558"/>
                  </a:lnTo>
                  <a:lnTo>
                    <a:pt x="40" y="528"/>
                  </a:lnTo>
                  <a:lnTo>
                    <a:pt x="26" y="498"/>
                  </a:lnTo>
                  <a:lnTo>
                    <a:pt x="16" y="464"/>
                  </a:lnTo>
                  <a:lnTo>
                    <a:pt x="8" y="430"/>
                  </a:lnTo>
                  <a:lnTo>
                    <a:pt x="2" y="394"/>
                  </a:lnTo>
                  <a:lnTo>
                    <a:pt x="0" y="358"/>
                  </a:lnTo>
                  <a:lnTo>
                    <a:pt x="2" y="322"/>
                  </a:lnTo>
                  <a:lnTo>
                    <a:pt x="8" y="286"/>
                  </a:lnTo>
                  <a:lnTo>
                    <a:pt x="16" y="252"/>
                  </a:lnTo>
                  <a:lnTo>
                    <a:pt x="26" y="218"/>
                  </a:lnTo>
                  <a:lnTo>
                    <a:pt x="40" y="188"/>
                  </a:lnTo>
                  <a:lnTo>
                    <a:pt x="58" y="158"/>
                  </a:lnTo>
                  <a:lnTo>
                    <a:pt x="76" y="130"/>
                  </a:lnTo>
                  <a:lnTo>
                    <a:pt x="98" y="106"/>
                  </a:lnTo>
                  <a:lnTo>
                    <a:pt x="122" y="82"/>
                  </a:lnTo>
                  <a:lnTo>
                    <a:pt x="146" y="62"/>
                  </a:lnTo>
                  <a:lnTo>
                    <a:pt x="174" y="44"/>
                  </a:lnTo>
                  <a:lnTo>
                    <a:pt x="202" y="28"/>
                  </a:lnTo>
                  <a:lnTo>
                    <a:pt x="234" y="16"/>
                  </a:lnTo>
                  <a:lnTo>
                    <a:pt x="264" y="8"/>
                  </a:lnTo>
                  <a:lnTo>
                    <a:pt x="298" y="2"/>
                  </a:lnTo>
                  <a:lnTo>
                    <a:pt x="332" y="0"/>
                  </a:lnTo>
                  <a:close/>
                </a:path>
              </a:pathLst>
            </a:custGeom>
            <a:solidFill>
              <a:srgbClr val="FADC1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15"/>
            <p:cNvSpPr>
              <a:spLocks/>
            </p:cNvSpPr>
            <p:nvPr/>
          </p:nvSpPr>
          <p:spPr bwMode="auto">
            <a:xfrm>
              <a:off x="4194" y="2525"/>
              <a:ext cx="640" cy="698"/>
            </a:xfrm>
            <a:custGeom>
              <a:avLst/>
              <a:gdLst>
                <a:gd name="T0" fmla="*/ 320 w 640"/>
                <a:gd name="T1" fmla="*/ 0 h 698"/>
                <a:gd name="T2" fmla="*/ 384 w 640"/>
                <a:gd name="T3" fmla="*/ 8 h 698"/>
                <a:gd name="T4" fmla="*/ 444 w 640"/>
                <a:gd name="T5" fmla="*/ 28 h 698"/>
                <a:gd name="T6" fmla="*/ 498 w 640"/>
                <a:gd name="T7" fmla="*/ 60 h 698"/>
                <a:gd name="T8" fmla="*/ 546 w 640"/>
                <a:gd name="T9" fmla="*/ 102 h 698"/>
                <a:gd name="T10" fmla="*/ 584 w 640"/>
                <a:gd name="T11" fmla="*/ 154 h 698"/>
                <a:gd name="T12" fmla="*/ 614 w 640"/>
                <a:gd name="T13" fmla="*/ 214 h 698"/>
                <a:gd name="T14" fmla="*/ 634 w 640"/>
                <a:gd name="T15" fmla="*/ 278 h 698"/>
                <a:gd name="T16" fmla="*/ 640 w 640"/>
                <a:gd name="T17" fmla="*/ 348 h 698"/>
                <a:gd name="T18" fmla="*/ 638 w 640"/>
                <a:gd name="T19" fmla="*/ 384 h 698"/>
                <a:gd name="T20" fmla="*/ 626 w 640"/>
                <a:gd name="T21" fmla="*/ 452 h 698"/>
                <a:gd name="T22" fmla="*/ 600 w 640"/>
                <a:gd name="T23" fmla="*/ 514 h 698"/>
                <a:gd name="T24" fmla="*/ 566 w 640"/>
                <a:gd name="T25" fmla="*/ 570 h 698"/>
                <a:gd name="T26" fmla="*/ 522 w 640"/>
                <a:gd name="T27" fmla="*/ 618 h 698"/>
                <a:gd name="T28" fmla="*/ 472 w 640"/>
                <a:gd name="T29" fmla="*/ 656 h 698"/>
                <a:gd name="T30" fmla="*/ 414 w 640"/>
                <a:gd name="T31" fmla="*/ 682 h 698"/>
                <a:gd name="T32" fmla="*/ 352 w 640"/>
                <a:gd name="T33" fmla="*/ 696 h 698"/>
                <a:gd name="T34" fmla="*/ 320 w 640"/>
                <a:gd name="T35" fmla="*/ 698 h 698"/>
                <a:gd name="T36" fmla="*/ 256 w 640"/>
                <a:gd name="T37" fmla="*/ 690 h 698"/>
                <a:gd name="T38" fmla="*/ 196 w 640"/>
                <a:gd name="T39" fmla="*/ 670 h 698"/>
                <a:gd name="T40" fmla="*/ 140 w 640"/>
                <a:gd name="T41" fmla="*/ 638 h 698"/>
                <a:gd name="T42" fmla="*/ 94 w 640"/>
                <a:gd name="T43" fmla="*/ 596 h 698"/>
                <a:gd name="T44" fmla="*/ 54 w 640"/>
                <a:gd name="T45" fmla="*/ 544 h 698"/>
                <a:gd name="T46" fmla="*/ 24 w 640"/>
                <a:gd name="T47" fmla="*/ 484 h 698"/>
                <a:gd name="T48" fmla="*/ 6 w 640"/>
                <a:gd name="T49" fmla="*/ 420 h 698"/>
                <a:gd name="T50" fmla="*/ 0 w 640"/>
                <a:gd name="T51" fmla="*/ 348 h 698"/>
                <a:gd name="T52" fmla="*/ 2 w 640"/>
                <a:gd name="T53" fmla="*/ 314 h 698"/>
                <a:gd name="T54" fmla="*/ 14 w 640"/>
                <a:gd name="T55" fmla="*/ 246 h 698"/>
                <a:gd name="T56" fmla="*/ 38 w 640"/>
                <a:gd name="T57" fmla="*/ 182 h 698"/>
                <a:gd name="T58" fmla="*/ 72 w 640"/>
                <a:gd name="T59" fmla="*/ 128 h 698"/>
                <a:gd name="T60" fmla="*/ 116 w 640"/>
                <a:gd name="T61" fmla="*/ 80 h 698"/>
                <a:gd name="T62" fmla="*/ 168 w 640"/>
                <a:gd name="T63" fmla="*/ 42 h 698"/>
                <a:gd name="T64" fmla="*/ 224 w 640"/>
                <a:gd name="T65" fmla="*/ 16 h 698"/>
                <a:gd name="T66" fmla="*/ 286 w 640"/>
                <a:gd name="T67" fmla="*/ 2 h 698"/>
                <a:gd name="T68" fmla="*/ 320 w 640"/>
                <a:gd name="T69" fmla="*/ 0 h 6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40"/>
                <a:gd name="T106" fmla="*/ 0 h 698"/>
                <a:gd name="T107" fmla="*/ 640 w 640"/>
                <a:gd name="T108" fmla="*/ 698 h 6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40" h="698">
                  <a:moveTo>
                    <a:pt x="320" y="0"/>
                  </a:moveTo>
                  <a:lnTo>
                    <a:pt x="320" y="0"/>
                  </a:lnTo>
                  <a:lnTo>
                    <a:pt x="352" y="2"/>
                  </a:lnTo>
                  <a:lnTo>
                    <a:pt x="384" y="8"/>
                  </a:lnTo>
                  <a:lnTo>
                    <a:pt x="414" y="16"/>
                  </a:lnTo>
                  <a:lnTo>
                    <a:pt x="444" y="28"/>
                  </a:lnTo>
                  <a:lnTo>
                    <a:pt x="472" y="42"/>
                  </a:lnTo>
                  <a:lnTo>
                    <a:pt x="498" y="60"/>
                  </a:lnTo>
                  <a:lnTo>
                    <a:pt x="522" y="80"/>
                  </a:lnTo>
                  <a:lnTo>
                    <a:pt x="546" y="102"/>
                  </a:lnTo>
                  <a:lnTo>
                    <a:pt x="566" y="128"/>
                  </a:lnTo>
                  <a:lnTo>
                    <a:pt x="584" y="154"/>
                  </a:lnTo>
                  <a:lnTo>
                    <a:pt x="600" y="182"/>
                  </a:lnTo>
                  <a:lnTo>
                    <a:pt x="614" y="214"/>
                  </a:lnTo>
                  <a:lnTo>
                    <a:pt x="626" y="246"/>
                  </a:lnTo>
                  <a:lnTo>
                    <a:pt x="634" y="278"/>
                  </a:lnTo>
                  <a:lnTo>
                    <a:pt x="638" y="314"/>
                  </a:lnTo>
                  <a:lnTo>
                    <a:pt x="640" y="348"/>
                  </a:lnTo>
                  <a:lnTo>
                    <a:pt x="638" y="384"/>
                  </a:lnTo>
                  <a:lnTo>
                    <a:pt x="634" y="420"/>
                  </a:lnTo>
                  <a:lnTo>
                    <a:pt x="626" y="452"/>
                  </a:lnTo>
                  <a:lnTo>
                    <a:pt x="614" y="484"/>
                  </a:lnTo>
                  <a:lnTo>
                    <a:pt x="600" y="514"/>
                  </a:lnTo>
                  <a:lnTo>
                    <a:pt x="584" y="544"/>
                  </a:lnTo>
                  <a:lnTo>
                    <a:pt x="566" y="570"/>
                  </a:lnTo>
                  <a:lnTo>
                    <a:pt x="546" y="596"/>
                  </a:lnTo>
                  <a:lnTo>
                    <a:pt x="522" y="618"/>
                  </a:lnTo>
                  <a:lnTo>
                    <a:pt x="498" y="638"/>
                  </a:lnTo>
                  <a:lnTo>
                    <a:pt x="472" y="656"/>
                  </a:lnTo>
                  <a:lnTo>
                    <a:pt x="444" y="670"/>
                  </a:lnTo>
                  <a:lnTo>
                    <a:pt x="414" y="682"/>
                  </a:lnTo>
                  <a:lnTo>
                    <a:pt x="384" y="690"/>
                  </a:lnTo>
                  <a:lnTo>
                    <a:pt x="352" y="696"/>
                  </a:lnTo>
                  <a:lnTo>
                    <a:pt x="320" y="698"/>
                  </a:lnTo>
                  <a:lnTo>
                    <a:pt x="286" y="696"/>
                  </a:lnTo>
                  <a:lnTo>
                    <a:pt x="256" y="690"/>
                  </a:lnTo>
                  <a:lnTo>
                    <a:pt x="224" y="682"/>
                  </a:lnTo>
                  <a:lnTo>
                    <a:pt x="196" y="670"/>
                  </a:lnTo>
                  <a:lnTo>
                    <a:pt x="168" y="656"/>
                  </a:lnTo>
                  <a:lnTo>
                    <a:pt x="140" y="638"/>
                  </a:lnTo>
                  <a:lnTo>
                    <a:pt x="116" y="618"/>
                  </a:lnTo>
                  <a:lnTo>
                    <a:pt x="94" y="596"/>
                  </a:lnTo>
                  <a:lnTo>
                    <a:pt x="72" y="570"/>
                  </a:lnTo>
                  <a:lnTo>
                    <a:pt x="54" y="544"/>
                  </a:lnTo>
                  <a:lnTo>
                    <a:pt x="38" y="514"/>
                  </a:lnTo>
                  <a:lnTo>
                    <a:pt x="24" y="484"/>
                  </a:lnTo>
                  <a:lnTo>
                    <a:pt x="14" y="452"/>
                  </a:lnTo>
                  <a:lnTo>
                    <a:pt x="6" y="420"/>
                  </a:lnTo>
                  <a:lnTo>
                    <a:pt x="2" y="384"/>
                  </a:lnTo>
                  <a:lnTo>
                    <a:pt x="0" y="348"/>
                  </a:lnTo>
                  <a:lnTo>
                    <a:pt x="2" y="314"/>
                  </a:lnTo>
                  <a:lnTo>
                    <a:pt x="6" y="278"/>
                  </a:lnTo>
                  <a:lnTo>
                    <a:pt x="14" y="246"/>
                  </a:lnTo>
                  <a:lnTo>
                    <a:pt x="24" y="214"/>
                  </a:lnTo>
                  <a:lnTo>
                    <a:pt x="38" y="182"/>
                  </a:lnTo>
                  <a:lnTo>
                    <a:pt x="54" y="154"/>
                  </a:lnTo>
                  <a:lnTo>
                    <a:pt x="72" y="128"/>
                  </a:lnTo>
                  <a:lnTo>
                    <a:pt x="94" y="102"/>
                  </a:lnTo>
                  <a:lnTo>
                    <a:pt x="116" y="80"/>
                  </a:lnTo>
                  <a:lnTo>
                    <a:pt x="140" y="60"/>
                  </a:lnTo>
                  <a:lnTo>
                    <a:pt x="168" y="42"/>
                  </a:lnTo>
                  <a:lnTo>
                    <a:pt x="196" y="28"/>
                  </a:lnTo>
                  <a:lnTo>
                    <a:pt x="224" y="16"/>
                  </a:lnTo>
                  <a:lnTo>
                    <a:pt x="256" y="8"/>
                  </a:lnTo>
                  <a:lnTo>
                    <a:pt x="286" y="2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ADE1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216"/>
            <p:cNvSpPr>
              <a:spLocks/>
            </p:cNvSpPr>
            <p:nvPr/>
          </p:nvSpPr>
          <p:spPr bwMode="auto">
            <a:xfrm>
              <a:off x="4208" y="2533"/>
              <a:ext cx="618" cy="680"/>
            </a:xfrm>
            <a:custGeom>
              <a:avLst/>
              <a:gdLst>
                <a:gd name="T0" fmla="*/ 310 w 618"/>
                <a:gd name="T1" fmla="*/ 0 h 680"/>
                <a:gd name="T2" fmla="*/ 372 w 618"/>
                <a:gd name="T3" fmla="*/ 6 h 680"/>
                <a:gd name="T4" fmla="*/ 430 w 618"/>
                <a:gd name="T5" fmla="*/ 26 h 680"/>
                <a:gd name="T6" fmla="*/ 482 w 618"/>
                <a:gd name="T7" fmla="*/ 58 h 680"/>
                <a:gd name="T8" fmla="*/ 528 w 618"/>
                <a:gd name="T9" fmla="*/ 100 h 680"/>
                <a:gd name="T10" fmla="*/ 566 w 618"/>
                <a:gd name="T11" fmla="*/ 150 h 680"/>
                <a:gd name="T12" fmla="*/ 594 w 618"/>
                <a:gd name="T13" fmla="*/ 208 h 680"/>
                <a:gd name="T14" fmla="*/ 612 w 618"/>
                <a:gd name="T15" fmla="*/ 272 h 680"/>
                <a:gd name="T16" fmla="*/ 618 w 618"/>
                <a:gd name="T17" fmla="*/ 340 h 680"/>
                <a:gd name="T18" fmla="*/ 618 w 618"/>
                <a:gd name="T19" fmla="*/ 374 h 680"/>
                <a:gd name="T20" fmla="*/ 604 w 618"/>
                <a:gd name="T21" fmla="*/ 440 h 680"/>
                <a:gd name="T22" fmla="*/ 582 w 618"/>
                <a:gd name="T23" fmla="*/ 502 h 680"/>
                <a:gd name="T24" fmla="*/ 548 w 618"/>
                <a:gd name="T25" fmla="*/ 556 h 680"/>
                <a:gd name="T26" fmla="*/ 506 w 618"/>
                <a:gd name="T27" fmla="*/ 602 h 680"/>
                <a:gd name="T28" fmla="*/ 456 w 618"/>
                <a:gd name="T29" fmla="*/ 638 h 680"/>
                <a:gd name="T30" fmla="*/ 402 w 618"/>
                <a:gd name="T31" fmla="*/ 664 h 680"/>
                <a:gd name="T32" fmla="*/ 342 w 618"/>
                <a:gd name="T33" fmla="*/ 678 h 680"/>
                <a:gd name="T34" fmla="*/ 310 w 618"/>
                <a:gd name="T35" fmla="*/ 680 h 680"/>
                <a:gd name="T36" fmla="*/ 248 w 618"/>
                <a:gd name="T37" fmla="*/ 672 h 680"/>
                <a:gd name="T38" fmla="*/ 190 w 618"/>
                <a:gd name="T39" fmla="*/ 652 h 680"/>
                <a:gd name="T40" fmla="*/ 138 w 618"/>
                <a:gd name="T41" fmla="*/ 622 h 680"/>
                <a:gd name="T42" fmla="*/ 92 w 618"/>
                <a:gd name="T43" fmla="*/ 580 h 680"/>
                <a:gd name="T44" fmla="*/ 54 w 618"/>
                <a:gd name="T45" fmla="*/ 530 h 680"/>
                <a:gd name="T46" fmla="*/ 24 w 618"/>
                <a:gd name="T47" fmla="*/ 472 h 680"/>
                <a:gd name="T48" fmla="*/ 6 w 618"/>
                <a:gd name="T49" fmla="*/ 408 h 680"/>
                <a:gd name="T50" fmla="*/ 0 w 618"/>
                <a:gd name="T51" fmla="*/ 340 h 680"/>
                <a:gd name="T52" fmla="*/ 2 w 618"/>
                <a:gd name="T53" fmla="*/ 306 h 680"/>
                <a:gd name="T54" fmla="*/ 14 w 618"/>
                <a:gd name="T55" fmla="*/ 238 h 680"/>
                <a:gd name="T56" fmla="*/ 38 w 618"/>
                <a:gd name="T57" fmla="*/ 178 h 680"/>
                <a:gd name="T58" fmla="*/ 72 w 618"/>
                <a:gd name="T59" fmla="*/ 124 h 680"/>
                <a:gd name="T60" fmla="*/ 114 w 618"/>
                <a:gd name="T61" fmla="*/ 78 h 680"/>
                <a:gd name="T62" fmla="*/ 162 w 618"/>
                <a:gd name="T63" fmla="*/ 40 h 680"/>
                <a:gd name="T64" fmla="*/ 218 w 618"/>
                <a:gd name="T65" fmla="*/ 16 h 680"/>
                <a:gd name="T66" fmla="*/ 278 w 618"/>
                <a:gd name="T67" fmla="*/ 2 h 680"/>
                <a:gd name="T68" fmla="*/ 310 w 618"/>
                <a:gd name="T69" fmla="*/ 0 h 6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18"/>
                <a:gd name="T106" fmla="*/ 0 h 680"/>
                <a:gd name="T107" fmla="*/ 618 w 618"/>
                <a:gd name="T108" fmla="*/ 680 h 6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18" h="680">
                  <a:moveTo>
                    <a:pt x="310" y="0"/>
                  </a:moveTo>
                  <a:lnTo>
                    <a:pt x="310" y="0"/>
                  </a:lnTo>
                  <a:lnTo>
                    <a:pt x="342" y="2"/>
                  </a:lnTo>
                  <a:lnTo>
                    <a:pt x="372" y="6"/>
                  </a:lnTo>
                  <a:lnTo>
                    <a:pt x="402" y="16"/>
                  </a:lnTo>
                  <a:lnTo>
                    <a:pt x="430" y="26"/>
                  </a:lnTo>
                  <a:lnTo>
                    <a:pt x="456" y="40"/>
                  </a:lnTo>
                  <a:lnTo>
                    <a:pt x="482" y="58"/>
                  </a:lnTo>
                  <a:lnTo>
                    <a:pt x="506" y="78"/>
                  </a:lnTo>
                  <a:lnTo>
                    <a:pt x="528" y="100"/>
                  </a:lnTo>
                  <a:lnTo>
                    <a:pt x="548" y="124"/>
                  </a:lnTo>
                  <a:lnTo>
                    <a:pt x="566" y="150"/>
                  </a:lnTo>
                  <a:lnTo>
                    <a:pt x="582" y="178"/>
                  </a:lnTo>
                  <a:lnTo>
                    <a:pt x="594" y="208"/>
                  </a:lnTo>
                  <a:lnTo>
                    <a:pt x="604" y="238"/>
                  </a:lnTo>
                  <a:lnTo>
                    <a:pt x="612" y="272"/>
                  </a:lnTo>
                  <a:lnTo>
                    <a:pt x="618" y="306"/>
                  </a:lnTo>
                  <a:lnTo>
                    <a:pt x="618" y="340"/>
                  </a:lnTo>
                  <a:lnTo>
                    <a:pt x="618" y="374"/>
                  </a:lnTo>
                  <a:lnTo>
                    <a:pt x="612" y="408"/>
                  </a:lnTo>
                  <a:lnTo>
                    <a:pt x="604" y="440"/>
                  </a:lnTo>
                  <a:lnTo>
                    <a:pt x="594" y="472"/>
                  </a:lnTo>
                  <a:lnTo>
                    <a:pt x="582" y="502"/>
                  </a:lnTo>
                  <a:lnTo>
                    <a:pt x="566" y="530"/>
                  </a:lnTo>
                  <a:lnTo>
                    <a:pt x="548" y="556"/>
                  </a:lnTo>
                  <a:lnTo>
                    <a:pt x="528" y="580"/>
                  </a:lnTo>
                  <a:lnTo>
                    <a:pt x="506" y="602"/>
                  </a:lnTo>
                  <a:lnTo>
                    <a:pt x="482" y="622"/>
                  </a:lnTo>
                  <a:lnTo>
                    <a:pt x="456" y="638"/>
                  </a:lnTo>
                  <a:lnTo>
                    <a:pt x="430" y="652"/>
                  </a:lnTo>
                  <a:lnTo>
                    <a:pt x="402" y="664"/>
                  </a:lnTo>
                  <a:lnTo>
                    <a:pt x="372" y="672"/>
                  </a:lnTo>
                  <a:lnTo>
                    <a:pt x="342" y="678"/>
                  </a:lnTo>
                  <a:lnTo>
                    <a:pt x="310" y="680"/>
                  </a:lnTo>
                  <a:lnTo>
                    <a:pt x="278" y="678"/>
                  </a:lnTo>
                  <a:lnTo>
                    <a:pt x="248" y="672"/>
                  </a:lnTo>
                  <a:lnTo>
                    <a:pt x="218" y="664"/>
                  </a:lnTo>
                  <a:lnTo>
                    <a:pt x="190" y="652"/>
                  </a:lnTo>
                  <a:lnTo>
                    <a:pt x="162" y="638"/>
                  </a:lnTo>
                  <a:lnTo>
                    <a:pt x="138" y="622"/>
                  </a:lnTo>
                  <a:lnTo>
                    <a:pt x="114" y="602"/>
                  </a:lnTo>
                  <a:lnTo>
                    <a:pt x="92" y="580"/>
                  </a:lnTo>
                  <a:lnTo>
                    <a:pt x="72" y="556"/>
                  </a:lnTo>
                  <a:lnTo>
                    <a:pt x="54" y="530"/>
                  </a:lnTo>
                  <a:lnTo>
                    <a:pt x="38" y="502"/>
                  </a:lnTo>
                  <a:lnTo>
                    <a:pt x="24" y="472"/>
                  </a:lnTo>
                  <a:lnTo>
                    <a:pt x="14" y="440"/>
                  </a:lnTo>
                  <a:lnTo>
                    <a:pt x="6" y="408"/>
                  </a:lnTo>
                  <a:lnTo>
                    <a:pt x="2" y="374"/>
                  </a:lnTo>
                  <a:lnTo>
                    <a:pt x="0" y="340"/>
                  </a:lnTo>
                  <a:lnTo>
                    <a:pt x="2" y="306"/>
                  </a:lnTo>
                  <a:lnTo>
                    <a:pt x="6" y="272"/>
                  </a:lnTo>
                  <a:lnTo>
                    <a:pt x="14" y="238"/>
                  </a:lnTo>
                  <a:lnTo>
                    <a:pt x="24" y="208"/>
                  </a:lnTo>
                  <a:lnTo>
                    <a:pt x="38" y="178"/>
                  </a:lnTo>
                  <a:lnTo>
                    <a:pt x="54" y="150"/>
                  </a:lnTo>
                  <a:lnTo>
                    <a:pt x="72" y="124"/>
                  </a:lnTo>
                  <a:lnTo>
                    <a:pt x="92" y="100"/>
                  </a:lnTo>
                  <a:lnTo>
                    <a:pt x="114" y="78"/>
                  </a:lnTo>
                  <a:lnTo>
                    <a:pt x="138" y="58"/>
                  </a:lnTo>
                  <a:lnTo>
                    <a:pt x="162" y="40"/>
                  </a:lnTo>
                  <a:lnTo>
                    <a:pt x="190" y="26"/>
                  </a:lnTo>
                  <a:lnTo>
                    <a:pt x="218" y="16"/>
                  </a:lnTo>
                  <a:lnTo>
                    <a:pt x="248" y="6"/>
                  </a:lnTo>
                  <a:lnTo>
                    <a:pt x="278" y="2"/>
                  </a:lnTo>
                  <a:lnTo>
                    <a:pt x="310" y="0"/>
                  </a:lnTo>
                  <a:close/>
                </a:path>
              </a:pathLst>
            </a:custGeom>
            <a:solidFill>
              <a:srgbClr val="FAE31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17"/>
            <p:cNvSpPr>
              <a:spLocks/>
            </p:cNvSpPr>
            <p:nvPr/>
          </p:nvSpPr>
          <p:spPr bwMode="auto">
            <a:xfrm>
              <a:off x="4224" y="2541"/>
              <a:ext cx="596" cy="662"/>
            </a:xfrm>
            <a:custGeom>
              <a:avLst/>
              <a:gdLst>
                <a:gd name="T0" fmla="*/ 298 w 596"/>
                <a:gd name="T1" fmla="*/ 0 h 662"/>
                <a:gd name="T2" fmla="*/ 358 w 596"/>
                <a:gd name="T3" fmla="*/ 6 h 662"/>
                <a:gd name="T4" fmla="*/ 414 w 596"/>
                <a:gd name="T5" fmla="*/ 26 h 662"/>
                <a:gd name="T6" fmla="*/ 464 w 596"/>
                <a:gd name="T7" fmla="*/ 56 h 662"/>
                <a:gd name="T8" fmla="*/ 508 w 596"/>
                <a:gd name="T9" fmla="*/ 96 h 662"/>
                <a:gd name="T10" fmla="*/ 546 w 596"/>
                <a:gd name="T11" fmla="*/ 146 h 662"/>
                <a:gd name="T12" fmla="*/ 572 w 596"/>
                <a:gd name="T13" fmla="*/ 202 h 662"/>
                <a:gd name="T14" fmla="*/ 590 w 596"/>
                <a:gd name="T15" fmla="*/ 264 h 662"/>
                <a:gd name="T16" fmla="*/ 596 w 596"/>
                <a:gd name="T17" fmla="*/ 330 h 662"/>
                <a:gd name="T18" fmla="*/ 594 w 596"/>
                <a:gd name="T19" fmla="*/ 364 h 662"/>
                <a:gd name="T20" fmla="*/ 582 w 596"/>
                <a:gd name="T21" fmla="*/ 428 h 662"/>
                <a:gd name="T22" fmla="*/ 560 w 596"/>
                <a:gd name="T23" fmla="*/ 488 h 662"/>
                <a:gd name="T24" fmla="*/ 528 w 596"/>
                <a:gd name="T25" fmla="*/ 540 h 662"/>
                <a:gd name="T26" fmla="*/ 488 w 596"/>
                <a:gd name="T27" fmla="*/ 586 h 662"/>
                <a:gd name="T28" fmla="*/ 440 w 596"/>
                <a:gd name="T29" fmla="*/ 622 h 662"/>
                <a:gd name="T30" fmla="*/ 386 w 596"/>
                <a:gd name="T31" fmla="*/ 646 h 662"/>
                <a:gd name="T32" fmla="*/ 328 w 596"/>
                <a:gd name="T33" fmla="*/ 660 h 662"/>
                <a:gd name="T34" fmla="*/ 298 w 596"/>
                <a:gd name="T35" fmla="*/ 662 h 662"/>
                <a:gd name="T36" fmla="*/ 238 w 596"/>
                <a:gd name="T37" fmla="*/ 654 h 662"/>
                <a:gd name="T38" fmla="*/ 182 w 596"/>
                <a:gd name="T39" fmla="*/ 636 h 662"/>
                <a:gd name="T40" fmla="*/ 132 w 596"/>
                <a:gd name="T41" fmla="*/ 604 h 662"/>
                <a:gd name="T42" fmla="*/ 88 w 596"/>
                <a:gd name="T43" fmla="*/ 564 h 662"/>
                <a:gd name="T44" fmla="*/ 50 w 596"/>
                <a:gd name="T45" fmla="*/ 516 h 662"/>
                <a:gd name="T46" fmla="*/ 24 w 596"/>
                <a:gd name="T47" fmla="*/ 460 h 662"/>
                <a:gd name="T48" fmla="*/ 6 w 596"/>
                <a:gd name="T49" fmla="*/ 398 h 662"/>
                <a:gd name="T50" fmla="*/ 0 w 596"/>
                <a:gd name="T51" fmla="*/ 330 h 662"/>
                <a:gd name="T52" fmla="*/ 2 w 596"/>
                <a:gd name="T53" fmla="*/ 296 h 662"/>
                <a:gd name="T54" fmla="*/ 14 w 596"/>
                <a:gd name="T55" fmla="*/ 232 h 662"/>
                <a:gd name="T56" fmla="*/ 36 w 596"/>
                <a:gd name="T57" fmla="*/ 174 h 662"/>
                <a:gd name="T58" fmla="*/ 68 w 596"/>
                <a:gd name="T59" fmla="*/ 120 h 662"/>
                <a:gd name="T60" fmla="*/ 108 w 596"/>
                <a:gd name="T61" fmla="*/ 76 h 662"/>
                <a:gd name="T62" fmla="*/ 156 w 596"/>
                <a:gd name="T63" fmla="*/ 40 h 662"/>
                <a:gd name="T64" fmla="*/ 210 w 596"/>
                <a:gd name="T65" fmla="*/ 14 h 662"/>
                <a:gd name="T66" fmla="*/ 268 w 596"/>
                <a:gd name="T67" fmla="*/ 2 h 662"/>
                <a:gd name="T68" fmla="*/ 298 w 596"/>
                <a:gd name="T69" fmla="*/ 0 h 66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96"/>
                <a:gd name="T106" fmla="*/ 0 h 662"/>
                <a:gd name="T107" fmla="*/ 596 w 596"/>
                <a:gd name="T108" fmla="*/ 662 h 66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96" h="662">
                  <a:moveTo>
                    <a:pt x="298" y="0"/>
                  </a:moveTo>
                  <a:lnTo>
                    <a:pt x="298" y="0"/>
                  </a:lnTo>
                  <a:lnTo>
                    <a:pt x="328" y="2"/>
                  </a:lnTo>
                  <a:lnTo>
                    <a:pt x="358" y="6"/>
                  </a:lnTo>
                  <a:lnTo>
                    <a:pt x="386" y="14"/>
                  </a:lnTo>
                  <a:lnTo>
                    <a:pt x="414" y="26"/>
                  </a:lnTo>
                  <a:lnTo>
                    <a:pt x="440" y="40"/>
                  </a:lnTo>
                  <a:lnTo>
                    <a:pt x="464" y="56"/>
                  </a:lnTo>
                  <a:lnTo>
                    <a:pt x="488" y="76"/>
                  </a:lnTo>
                  <a:lnTo>
                    <a:pt x="508" y="96"/>
                  </a:lnTo>
                  <a:lnTo>
                    <a:pt x="528" y="120"/>
                  </a:lnTo>
                  <a:lnTo>
                    <a:pt x="546" y="146"/>
                  </a:lnTo>
                  <a:lnTo>
                    <a:pt x="560" y="174"/>
                  </a:lnTo>
                  <a:lnTo>
                    <a:pt x="572" y="202"/>
                  </a:lnTo>
                  <a:lnTo>
                    <a:pt x="582" y="232"/>
                  </a:lnTo>
                  <a:lnTo>
                    <a:pt x="590" y="264"/>
                  </a:lnTo>
                  <a:lnTo>
                    <a:pt x="594" y="296"/>
                  </a:lnTo>
                  <a:lnTo>
                    <a:pt x="596" y="330"/>
                  </a:lnTo>
                  <a:lnTo>
                    <a:pt x="594" y="364"/>
                  </a:lnTo>
                  <a:lnTo>
                    <a:pt x="590" y="398"/>
                  </a:lnTo>
                  <a:lnTo>
                    <a:pt x="582" y="428"/>
                  </a:lnTo>
                  <a:lnTo>
                    <a:pt x="572" y="460"/>
                  </a:lnTo>
                  <a:lnTo>
                    <a:pt x="560" y="488"/>
                  </a:lnTo>
                  <a:lnTo>
                    <a:pt x="546" y="516"/>
                  </a:lnTo>
                  <a:lnTo>
                    <a:pt x="528" y="540"/>
                  </a:lnTo>
                  <a:lnTo>
                    <a:pt x="508" y="564"/>
                  </a:lnTo>
                  <a:lnTo>
                    <a:pt x="488" y="586"/>
                  </a:lnTo>
                  <a:lnTo>
                    <a:pt x="464" y="604"/>
                  </a:lnTo>
                  <a:lnTo>
                    <a:pt x="440" y="622"/>
                  </a:lnTo>
                  <a:lnTo>
                    <a:pt x="414" y="636"/>
                  </a:lnTo>
                  <a:lnTo>
                    <a:pt x="386" y="646"/>
                  </a:lnTo>
                  <a:lnTo>
                    <a:pt x="358" y="654"/>
                  </a:lnTo>
                  <a:lnTo>
                    <a:pt x="328" y="660"/>
                  </a:lnTo>
                  <a:lnTo>
                    <a:pt x="298" y="662"/>
                  </a:lnTo>
                  <a:lnTo>
                    <a:pt x="268" y="660"/>
                  </a:lnTo>
                  <a:lnTo>
                    <a:pt x="238" y="654"/>
                  </a:lnTo>
                  <a:lnTo>
                    <a:pt x="210" y="646"/>
                  </a:lnTo>
                  <a:lnTo>
                    <a:pt x="182" y="636"/>
                  </a:lnTo>
                  <a:lnTo>
                    <a:pt x="156" y="622"/>
                  </a:lnTo>
                  <a:lnTo>
                    <a:pt x="132" y="604"/>
                  </a:lnTo>
                  <a:lnTo>
                    <a:pt x="108" y="586"/>
                  </a:lnTo>
                  <a:lnTo>
                    <a:pt x="88" y="564"/>
                  </a:lnTo>
                  <a:lnTo>
                    <a:pt x="68" y="540"/>
                  </a:lnTo>
                  <a:lnTo>
                    <a:pt x="50" y="516"/>
                  </a:lnTo>
                  <a:lnTo>
                    <a:pt x="36" y="488"/>
                  </a:lnTo>
                  <a:lnTo>
                    <a:pt x="24" y="460"/>
                  </a:lnTo>
                  <a:lnTo>
                    <a:pt x="14" y="428"/>
                  </a:lnTo>
                  <a:lnTo>
                    <a:pt x="6" y="398"/>
                  </a:lnTo>
                  <a:lnTo>
                    <a:pt x="2" y="364"/>
                  </a:lnTo>
                  <a:lnTo>
                    <a:pt x="0" y="330"/>
                  </a:lnTo>
                  <a:lnTo>
                    <a:pt x="2" y="296"/>
                  </a:lnTo>
                  <a:lnTo>
                    <a:pt x="6" y="264"/>
                  </a:lnTo>
                  <a:lnTo>
                    <a:pt x="14" y="232"/>
                  </a:lnTo>
                  <a:lnTo>
                    <a:pt x="24" y="202"/>
                  </a:lnTo>
                  <a:lnTo>
                    <a:pt x="36" y="174"/>
                  </a:lnTo>
                  <a:lnTo>
                    <a:pt x="50" y="146"/>
                  </a:lnTo>
                  <a:lnTo>
                    <a:pt x="68" y="120"/>
                  </a:lnTo>
                  <a:lnTo>
                    <a:pt x="88" y="96"/>
                  </a:lnTo>
                  <a:lnTo>
                    <a:pt x="108" y="76"/>
                  </a:lnTo>
                  <a:lnTo>
                    <a:pt x="132" y="56"/>
                  </a:lnTo>
                  <a:lnTo>
                    <a:pt x="156" y="40"/>
                  </a:lnTo>
                  <a:lnTo>
                    <a:pt x="182" y="26"/>
                  </a:lnTo>
                  <a:lnTo>
                    <a:pt x="210" y="14"/>
                  </a:lnTo>
                  <a:lnTo>
                    <a:pt x="238" y="6"/>
                  </a:lnTo>
                  <a:lnTo>
                    <a:pt x="268" y="2"/>
                  </a:lnTo>
                  <a:lnTo>
                    <a:pt x="298" y="0"/>
                  </a:lnTo>
                  <a:close/>
                </a:path>
              </a:pathLst>
            </a:custGeom>
            <a:solidFill>
              <a:srgbClr val="FAE61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18"/>
            <p:cNvSpPr>
              <a:spLocks/>
            </p:cNvSpPr>
            <p:nvPr/>
          </p:nvSpPr>
          <p:spPr bwMode="auto">
            <a:xfrm>
              <a:off x="4238" y="2549"/>
              <a:ext cx="576" cy="644"/>
            </a:xfrm>
            <a:custGeom>
              <a:avLst/>
              <a:gdLst>
                <a:gd name="T0" fmla="*/ 288 w 576"/>
                <a:gd name="T1" fmla="*/ 0 h 644"/>
                <a:gd name="T2" fmla="*/ 346 w 576"/>
                <a:gd name="T3" fmla="*/ 6 h 644"/>
                <a:gd name="T4" fmla="*/ 400 w 576"/>
                <a:gd name="T5" fmla="*/ 26 h 644"/>
                <a:gd name="T6" fmla="*/ 448 w 576"/>
                <a:gd name="T7" fmla="*/ 54 h 644"/>
                <a:gd name="T8" fmla="*/ 490 w 576"/>
                <a:gd name="T9" fmla="*/ 94 h 644"/>
                <a:gd name="T10" fmla="*/ 526 w 576"/>
                <a:gd name="T11" fmla="*/ 142 h 644"/>
                <a:gd name="T12" fmla="*/ 552 w 576"/>
                <a:gd name="T13" fmla="*/ 196 h 644"/>
                <a:gd name="T14" fmla="*/ 570 w 576"/>
                <a:gd name="T15" fmla="*/ 256 h 644"/>
                <a:gd name="T16" fmla="*/ 576 w 576"/>
                <a:gd name="T17" fmla="*/ 322 h 644"/>
                <a:gd name="T18" fmla="*/ 574 w 576"/>
                <a:gd name="T19" fmla="*/ 354 h 644"/>
                <a:gd name="T20" fmla="*/ 562 w 576"/>
                <a:gd name="T21" fmla="*/ 418 h 644"/>
                <a:gd name="T22" fmla="*/ 540 w 576"/>
                <a:gd name="T23" fmla="*/ 474 h 644"/>
                <a:gd name="T24" fmla="*/ 510 w 576"/>
                <a:gd name="T25" fmla="*/ 526 h 644"/>
                <a:gd name="T26" fmla="*/ 470 w 576"/>
                <a:gd name="T27" fmla="*/ 570 h 644"/>
                <a:gd name="T28" fmla="*/ 424 w 576"/>
                <a:gd name="T29" fmla="*/ 604 h 644"/>
                <a:gd name="T30" fmla="*/ 374 w 576"/>
                <a:gd name="T31" fmla="*/ 630 h 644"/>
                <a:gd name="T32" fmla="*/ 318 w 576"/>
                <a:gd name="T33" fmla="*/ 642 h 644"/>
                <a:gd name="T34" fmla="*/ 288 w 576"/>
                <a:gd name="T35" fmla="*/ 644 h 644"/>
                <a:gd name="T36" fmla="*/ 230 w 576"/>
                <a:gd name="T37" fmla="*/ 636 h 644"/>
                <a:gd name="T38" fmla="*/ 176 w 576"/>
                <a:gd name="T39" fmla="*/ 618 h 644"/>
                <a:gd name="T40" fmla="*/ 128 w 576"/>
                <a:gd name="T41" fmla="*/ 588 h 644"/>
                <a:gd name="T42" fmla="*/ 86 w 576"/>
                <a:gd name="T43" fmla="*/ 550 h 644"/>
                <a:gd name="T44" fmla="*/ 50 w 576"/>
                <a:gd name="T45" fmla="*/ 502 h 644"/>
                <a:gd name="T46" fmla="*/ 24 w 576"/>
                <a:gd name="T47" fmla="*/ 446 h 644"/>
                <a:gd name="T48" fmla="*/ 6 w 576"/>
                <a:gd name="T49" fmla="*/ 386 h 644"/>
                <a:gd name="T50" fmla="*/ 0 w 576"/>
                <a:gd name="T51" fmla="*/ 322 h 644"/>
                <a:gd name="T52" fmla="*/ 2 w 576"/>
                <a:gd name="T53" fmla="*/ 288 h 644"/>
                <a:gd name="T54" fmla="*/ 14 w 576"/>
                <a:gd name="T55" fmla="*/ 226 h 644"/>
                <a:gd name="T56" fmla="*/ 36 w 576"/>
                <a:gd name="T57" fmla="*/ 168 h 644"/>
                <a:gd name="T58" fmla="*/ 66 w 576"/>
                <a:gd name="T59" fmla="*/ 118 h 644"/>
                <a:gd name="T60" fmla="*/ 106 w 576"/>
                <a:gd name="T61" fmla="*/ 74 h 644"/>
                <a:gd name="T62" fmla="*/ 152 w 576"/>
                <a:gd name="T63" fmla="*/ 38 h 644"/>
                <a:gd name="T64" fmla="*/ 202 w 576"/>
                <a:gd name="T65" fmla="*/ 14 h 644"/>
                <a:gd name="T66" fmla="*/ 258 w 576"/>
                <a:gd name="T67" fmla="*/ 2 h 644"/>
                <a:gd name="T68" fmla="*/ 288 w 576"/>
                <a:gd name="T69" fmla="*/ 0 h 6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76"/>
                <a:gd name="T106" fmla="*/ 0 h 644"/>
                <a:gd name="T107" fmla="*/ 576 w 576"/>
                <a:gd name="T108" fmla="*/ 644 h 6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76" h="644">
                  <a:moveTo>
                    <a:pt x="288" y="0"/>
                  </a:moveTo>
                  <a:lnTo>
                    <a:pt x="288" y="0"/>
                  </a:lnTo>
                  <a:lnTo>
                    <a:pt x="318" y="2"/>
                  </a:lnTo>
                  <a:lnTo>
                    <a:pt x="346" y="6"/>
                  </a:lnTo>
                  <a:lnTo>
                    <a:pt x="374" y="14"/>
                  </a:lnTo>
                  <a:lnTo>
                    <a:pt x="400" y="26"/>
                  </a:lnTo>
                  <a:lnTo>
                    <a:pt x="424" y="38"/>
                  </a:lnTo>
                  <a:lnTo>
                    <a:pt x="448" y="54"/>
                  </a:lnTo>
                  <a:lnTo>
                    <a:pt x="470" y="74"/>
                  </a:lnTo>
                  <a:lnTo>
                    <a:pt x="490" y="94"/>
                  </a:lnTo>
                  <a:lnTo>
                    <a:pt x="510" y="118"/>
                  </a:lnTo>
                  <a:lnTo>
                    <a:pt x="526" y="142"/>
                  </a:lnTo>
                  <a:lnTo>
                    <a:pt x="540" y="168"/>
                  </a:lnTo>
                  <a:lnTo>
                    <a:pt x="552" y="196"/>
                  </a:lnTo>
                  <a:lnTo>
                    <a:pt x="562" y="226"/>
                  </a:lnTo>
                  <a:lnTo>
                    <a:pt x="570" y="256"/>
                  </a:lnTo>
                  <a:lnTo>
                    <a:pt x="574" y="288"/>
                  </a:lnTo>
                  <a:lnTo>
                    <a:pt x="576" y="322"/>
                  </a:lnTo>
                  <a:lnTo>
                    <a:pt x="574" y="354"/>
                  </a:lnTo>
                  <a:lnTo>
                    <a:pt x="570" y="386"/>
                  </a:lnTo>
                  <a:lnTo>
                    <a:pt x="562" y="418"/>
                  </a:lnTo>
                  <a:lnTo>
                    <a:pt x="552" y="446"/>
                  </a:lnTo>
                  <a:lnTo>
                    <a:pt x="540" y="474"/>
                  </a:lnTo>
                  <a:lnTo>
                    <a:pt x="526" y="502"/>
                  </a:lnTo>
                  <a:lnTo>
                    <a:pt x="510" y="526"/>
                  </a:lnTo>
                  <a:lnTo>
                    <a:pt x="490" y="550"/>
                  </a:lnTo>
                  <a:lnTo>
                    <a:pt x="470" y="570"/>
                  </a:lnTo>
                  <a:lnTo>
                    <a:pt x="448" y="588"/>
                  </a:lnTo>
                  <a:lnTo>
                    <a:pt x="424" y="604"/>
                  </a:lnTo>
                  <a:lnTo>
                    <a:pt x="400" y="618"/>
                  </a:lnTo>
                  <a:lnTo>
                    <a:pt x="374" y="630"/>
                  </a:lnTo>
                  <a:lnTo>
                    <a:pt x="346" y="636"/>
                  </a:lnTo>
                  <a:lnTo>
                    <a:pt x="318" y="642"/>
                  </a:lnTo>
                  <a:lnTo>
                    <a:pt x="288" y="644"/>
                  </a:lnTo>
                  <a:lnTo>
                    <a:pt x="258" y="642"/>
                  </a:lnTo>
                  <a:lnTo>
                    <a:pt x="230" y="636"/>
                  </a:lnTo>
                  <a:lnTo>
                    <a:pt x="202" y="630"/>
                  </a:lnTo>
                  <a:lnTo>
                    <a:pt x="176" y="618"/>
                  </a:lnTo>
                  <a:lnTo>
                    <a:pt x="152" y="604"/>
                  </a:lnTo>
                  <a:lnTo>
                    <a:pt x="128" y="588"/>
                  </a:lnTo>
                  <a:lnTo>
                    <a:pt x="106" y="570"/>
                  </a:lnTo>
                  <a:lnTo>
                    <a:pt x="86" y="550"/>
                  </a:lnTo>
                  <a:lnTo>
                    <a:pt x="66" y="526"/>
                  </a:lnTo>
                  <a:lnTo>
                    <a:pt x="50" y="502"/>
                  </a:lnTo>
                  <a:lnTo>
                    <a:pt x="36" y="474"/>
                  </a:lnTo>
                  <a:lnTo>
                    <a:pt x="24" y="446"/>
                  </a:lnTo>
                  <a:lnTo>
                    <a:pt x="14" y="418"/>
                  </a:lnTo>
                  <a:lnTo>
                    <a:pt x="6" y="386"/>
                  </a:lnTo>
                  <a:lnTo>
                    <a:pt x="2" y="354"/>
                  </a:lnTo>
                  <a:lnTo>
                    <a:pt x="0" y="322"/>
                  </a:lnTo>
                  <a:lnTo>
                    <a:pt x="2" y="288"/>
                  </a:lnTo>
                  <a:lnTo>
                    <a:pt x="6" y="256"/>
                  </a:lnTo>
                  <a:lnTo>
                    <a:pt x="14" y="226"/>
                  </a:lnTo>
                  <a:lnTo>
                    <a:pt x="24" y="196"/>
                  </a:lnTo>
                  <a:lnTo>
                    <a:pt x="36" y="168"/>
                  </a:lnTo>
                  <a:lnTo>
                    <a:pt x="50" y="142"/>
                  </a:lnTo>
                  <a:lnTo>
                    <a:pt x="66" y="118"/>
                  </a:lnTo>
                  <a:lnTo>
                    <a:pt x="86" y="94"/>
                  </a:lnTo>
                  <a:lnTo>
                    <a:pt x="106" y="74"/>
                  </a:lnTo>
                  <a:lnTo>
                    <a:pt x="128" y="54"/>
                  </a:lnTo>
                  <a:lnTo>
                    <a:pt x="152" y="38"/>
                  </a:lnTo>
                  <a:lnTo>
                    <a:pt x="176" y="26"/>
                  </a:lnTo>
                  <a:lnTo>
                    <a:pt x="202" y="14"/>
                  </a:lnTo>
                  <a:lnTo>
                    <a:pt x="230" y="6"/>
                  </a:lnTo>
                  <a:lnTo>
                    <a:pt x="258" y="2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FAEB1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219"/>
            <p:cNvSpPr>
              <a:spLocks/>
            </p:cNvSpPr>
            <p:nvPr/>
          </p:nvSpPr>
          <p:spPr bwMode="auto">
            <a:xfrm>
              <a:off x="4254" y="2557"/>
              <a:ext cx="552" cy="626"/>
            </a:xfrm>
            <a:custGeom>
              <a:avLst/>
              <a:gdLst>
                <a:gd name="T0" fmla="*/ 276 w 552"/>
                <a:gd name="T1" fmla="*/ 0 h 626"/>
                <a:gd name="T2" fmla="*/ 332 w 552"/>
                <a:gd name="T3" fmla="*/ 6 h 626"/>
                <a:gd name="T4" fmla="*/ 384 w 552"/>
                <a:gd name="T5" fmla="*/ 24 h 626"/>
                <a:gd name="T6" fmla="*/ 430 w 552"/>
                <a:gd name="T7" fmla="*/ 54 h 626"/>
                <a:gd name="T8" fmla="*/ 472 w 552"/>
                <a:gd name="T9" fmla="*/ 92 h 626"/>
                <a:gd name="T10" fmla="*/ 506 w 552"/>
                <a:gd name="T11" fmla="*/ 138 h 626"/>
                <a:gd name="T12" fmla="*/ 530 w 552"/>
                <a:gd name="T13" fmla="*/ 190 h 626"/>
                <a:gd name="T14" fmla="*/ 546 w 552"/>
                <a:gd name="T15" fmla="*/ 250 h 626"/>
                <a:gd name="T16" fmla="*/ 552 w 552"/>
                <a:gd name="T17" fmla="*/ 312 h 626"/>
                <a:gd name="T18" fmla="*/ 552 w 552"/>
                <a:gd name="T19" fmla="*/ 344 h 626"/>
                <a:gd name="T20" fmla="*/ 540 w 552"/>
                <a:gd name="T21" fmla="*/ 406 h 626"/>
                <a:gd name="T22" fmla="*/ 520 w 552"/>
                <a:gd name="T23" fmla="*/ 462 h 626"/>
                <a:gd name="T24" fmla="*/ 490 w 552"/>
                <a:gd name="T25" fmla="*/ 512 h 626"/>
                <a:gd name="T26" fmla="*/ 452 w 552"/>
                <a:gd name="T27" fmla="*/ 554 h 626"/>
                <a:gd name="T28" fmla="*/ 408 w 552"/>
                <a:gd name="T29" fmla="*/ 588 h 626"/>
                <a:gd name="T30" fmla="*/ 358 w 552"/>
                <a:gd name="T31" fmla="*/ 612 h 626"/>
                <a:gd name="T32" fmla="*/ 304 w 552"/>
                <a:gd name="T33" fmla="*/ 624 h 626"/>
                <a:gd name="T34" fmla="*/ 276 w 552"/>
                <a:gd name="T35" fmla="*/ 626 h 626"/>
                <a:gd name="T36" fmla="*/ 220 w 552"/>
                <a:gd name="T37" fmla="*/ 620 h 626"/>
                <a:gd name="T38" fmla="*/ 168 w 552"/>
                <a:gd name="T39" fmla="*/ 600 h 626"/>
                <a:gd name="T40" fmla="*/ 122 w 552"/>
                <a:gd name="T41" fmla="*/ 572 h 626"/>
                <a:gd name="T42" fmla="*/ 80 w 552"/>
                <a:gd name="T43" fmla="*/ 534 h 626"/>
                <a:gd name="T44" fmla="*/ 48 w 552"/>
                <a:gd name="T45" fmla="*/ 488 h 626"/>
                <a:gd name="T46" fmla="*/ 22 w 552"/>
                <a:gd name="T47" fmla="*/ 434 h 626"/>
                <a:gd name="T48" fmla="*/ 6 w 552"/>
                <a:gd name="T49" fmla="*/ 376 h 626"/>
                <a:gd name="T50" fmla="*/ 0 w 552"/>
                <a:gd name="T51" fmla="*/ 312 h 626"/>
                <a:gd name="T52" fmla="*/ 2 w 552"/>
                <a:gd name="T53" fmla="*/ 280 h 626"/>
                <a:gd name="T54" fmla="*/ 12 w 552"/>
                <a:gd name="T55" fmla="*/ 220 h 626"/>
                <a:gd name="T56" fmla="*/ 34 w 552"/>
                <a:gd name="T57" fmla="*/ 164 h 626"/>
                <a:gd name="T58" fmla="*/ 64 w 552"/>
                <a:gd name="T59" fmla="*/ 114 h 626"/>
                <a:gd name="T60" fmla="*/ 100 w 552"/>
                <a:gd name="T61" fmla="*/ 72 h 626"/>
                <a:gd name="T62" fmla="*/ 144 w 552"/>
                <a:gd name="T63" fmla="*/ 38 h 626"/>
                <a:gd name="T64" fmla="*/ 194 w 552"/>
                <a:gd name="T65" fmla="*/ 14 h 626"/>
                <a:gd name="T66" fmla="*/ 248 w 552"/>
                <a:gd name="T67" fmla="*/ 2 h 626"/>
                <a:gd name="T68" fmla="*/ 276 w 552"/>
                <a:gd name="T69" fmla="*/ 0 h 6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52"/>
                <a:gd name="T106" fmla="*/ 0 h 626"/>
                <a:gd name="T107" fmla="*/ 552 w 552"/>
                <a:gd name="T108" fmla="*/ 626 h 62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52" h="626">
                  <a:moveTo>
                    <a:pt x="276" y="0"/>
                  </a:moveTo>
                  <a:lnTo>
                    <a:pt x="276" y="0"/>
                  </a:lnTo>
                  <a:lnTo>
                    <a:pt x="304" y="2"/>
                  </a:lnTo>
                  <a:lnTo>
                    <a:pt x="332" y="6"/>
                  </a:lnTo>
                  <a:lnTo>
                    <a:pt x="358" y="14"/>
                  </a:lnTo>
                  <a:lnTo>
                    <a:pt x="384" y="24"/>
                  </a:lnTo>
                  <a:lnTo>
                    <a:pt x="408" y="38"/>
                  </a:lnTo>
                  <a:lnTo>
                    <a:pt x="430" y="54"/>
                  </a:lnTo>
                  <a:lnTo>
                    <a:pt x="452" y="72"/>
                  </a:lnTo>
                  <a:lnTo>
                    <a:pt x="472" y="92"/>
                  </a:lnTo>
                  <a:lnTo>
                    <a:pt x="490" y="114"/>
                  </a:lnTo>
                  <a:lnTo>
                    <a:pt x="506" y="138"/>
                  </a:lnTo>
                  <a:lnTo>
                    <a:pt x="520" y="164"/>
                  </a:lnTo>
                  <a:lnTo>
                    <a:pt x="530" y="190"/>
                  </a:lnTo>
                  <a:lnTo>
                    <a:pt x="540" y="220"/>
                  </a:lnTo>
                  <a:lnTo>
                    <a:pt x="546" y="250"/>
                  </a:lnTo>
                  <a:lnTo>
                    <a:pt x="552" y="280"/>
                  </a:lnTo>
                  <a:lnTo>
                    <a:pt x="552" y="312"/>
                  </a:lnTo>
                  <a:lnTo>
                    <a:pt x="552" y="344"/>
                  </a:lnTo>
                  <a:lnTo>
                    <a:pt x="546" y="376"/>
                  </a:lnTo>
                  <a:lnTo>
                    <a:pt x="540" y="406"/>
                  </a:lnTo>
                  <a:lnTo>
                    <a:pt x="530" y="434"/>
                  </a:lnTo>
                  <a:lnTo>
                    <a:pt x="520" y="462"/>
                  </a:lnTo>
                  <a:lnTo>
                    <a:pt x="506" y="488"/>
                  </a:lnTo>
                  <a:lnTo>
                    <a:pt x="490" y="512"/>
                  </a:lnTo>
                  <a:lnTo>
                    <a:pt x="472" y="534"/>
                  </a:lnTo>
                  <a:lnTo>
                    <a:pt x="452" y="554"/>
                  </a:lnTo>
                  <a:lnTo>
                    <a:pt x="430" y="572"/>
                  </a:lnTo>
                  <a:lnTo>
                    <a:pt x="408" y="588"/>
                  </a:lnTo>
                  <a:lnTo>
                    <a:pt x="384" y="600"/>
                  </a:lnTo>
                  <a:lnTo>
                    <a:pt x="358" y="612"/>
                  </a:lnTo>
                  <a:lnTo>
                    <a:pt x="332" y="620"/>
                  </a:lnTo>
                  <a:lnTo>
                    <a:pt x="304" y="624"/>
                  </a:lnTo>
                  <a:lnTo>
                    <a:pt x="276" y="626"/>
                  </a:lnTo>
                  <a:lnTo>
                    <a:pt x="248" y="624"/>
                  </a:lnTo>
                  <a:lnTo>
                    <a:pt x="220" y="620"/>
                  </a:lnTo>
                  <a:lnTo>
                    <a:pt x="194" y="612"/>
                  </a:lnTo>
                  <a:lnTo>
                    <a:pt x="168" y="600"/>
                  </a:lnTo>
                  <a:lnTo>
                    <a:pt x="144" y="588"/>
                  </a:lnTo>
                  <a:lnTo>
                    <a:pt x="122" y="572"/>
                  </a:lnTo>
                  <a:lnTo>
                    <a:pt x="100" y="554"/>
                  </a:lnTo>
                  <a:lnTo>
                    <a:pt x="80" y="534"/>
                  </a:lnTo>
                  <a:lnTo>
                    <a:pt x="64" y="512"/>
                  </a:lnTo>
                  <a:lnTo>
                    <a:pt x="48" y="488"/>
                  </a:lnTo>
                  <a:lnTo>
                    <a:pt x="34" y="462"/>
                  </a:lnTo>
                  <a:lnTo>
                    <a:pt x="22" y="434"/>
                  </a:lnTo>
                  <a:lnTo>
                    <a:pt x="12" y="406"/>
                  </a:lnTo>
                  <a:lnTo>
                    <a:pt x="6" y="376"/>
                  </a:lnTo>
                  <a:lnTo>
                    <a:pt x="2" y="344"/>
                  </a:lnTo>
                  <a:lnTo>
                    <a:pt x="0" y="312"/>
                  </a:lnTo>
                  <a:lnTo>
                    <a:pt x="2" y="280"/>
                  </a:lnTo>
                  <a:lnTo>
                    <a:pt x="6" y="250"/>
                  </a:lnTo>
                  <a:lnTo>
                    <a:pt x="12" y="220"/>
                  </a:lnTo>
                  <a:lnTo>
                    <a:pt x="22" y="190"/>
                  </a:lnTo>
                  <a:lnTo>
                    <a:pt x="34" y="164"/>
                  </a:lnTo>
                  <a:lnTo>
                    <a:pt x="48" y="138"/>
                  </a:lnTo>
                  <a:lnTo>
                    <a:pt x="64" y="114"/>
                  </a:lnTo>
                  <a:lnTo>
                    <a:pt x="80" y="92"/>
                  </a:lnTo>
                  <a:lnTo>
                    <a:pt x="100" y="72"/>
                  </a:lnTo>
                  <a:lnTo>
                    <a:pt x="122" y="54"/>
                  </a:lnTo>
                  <a:lnTo>
                    <a:pt x="144" y="38"/>
                  </a:lnTo>
                  <a:lnTo>
                    <a:pt x="168" y="24"/>
                  </a:lnTo>
                  <a:lnTo>
                    <a:pt x="194" y="14"/>
                  </a:lnTo>
                  <a:lnTo>
                    <a:pt x="220" y="6"/>
                  </a:lnTo>
                  <a:lnTo>
                    <a:pt x="248" y="2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F7EA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220"/>
            <p:cNvSpPr>
              <a:spLocks/>
            </p:cNvSpPr>
            <p:nvPr/>
          </p:nvSpPr>
          <p:spPr bwMode="auto">
            <a:xfrm>
              <a:off x="4268" y="2565"/>
              <a:ext cx="532" cy="608"/>
            </a:xfrm>
            <a:custGeom>
              <a:avLst/>
              <a:gdLst>
                <a:gd name="T0" fmla="*/ 266 w 532"/>
                <a:gd name="T1" fmla="*/ 0 h 608"/>
                <a:gd name="T2" fmla="*/ 320 w 532"/>
                <a:gd name="T3" fmla="*/ 6 h 608"/>
                <a:gd name="T4" fmla="*/ 370 w 532"/>
                <a:gd name="T5" fmla="*/ 24 h 608"/>
                <a:gd name="T6" fmla="*/ 414 w 532"/>
                <a:gd name="T7" fmla="*/ 52 h 608"/>
                <a:gd name="T8" fmla="*/ 454 w 532"/>
                <a:gd name="T9" fmla="*/ 88 h 608"/>
                <a:gd name="T10" fmla="*/ 486 w 532"/>
                <a:gd name="T11" fmla="*/ 134 h 608"/>
                <a:gd name="T12" fmla="*/ 510 w 532"/>
                <a:gd name="T13" fmla="*/ 186 h 608"/>
                <a:gd name="T14" fmla="*/ 526 w 532"/>
                <a:gd name="T15" fmla="*/ 242 h 608"/>
                <a:gd name="T16" fmla="*/ 532 w 532"/>
                <a:gd name="T17" fmla="*/ 304 h 608"/>
                <a:gd name="T18" fmla="*/ 530 w 532"/>
                <a:gd name="T19" fmla="*/ 334 h 608"/>
                <a:gd name="T20" fmla="*/ 520 w 532"/>
                <a:gd name="T21" fmla="*/ 394 h 608"/>
                <a:gd name="T22" fmla="*/ 500 w 532"/>
                <a:gd name="T23" fmla="*/ 448 h 608"/>
                <a:gd name="T24" fmla="*/ 472 w 532"/>
                <a:gd name="T25" fmla="*/ 496 h 608"/>
                <a:gd name="T26" fmla="*/ 436 w 532"/>
                <a:gd name="T27" fmla="*/ 538 h 608"/>
                <a:gd name="T28" fmla="*/ 392 w 532"/>
                <a:gd name="T29" fmla="*/ 570 h 608"/>
                <a:gd name="T30" fmla="*/ 346 w 532"/>
                <a:gd name="T31" fmla="*/ 594 h 608"/>
                <a:gd name="T32" fmla="*/ 294 w 532"/>
                <a:gd name="T33" fmla="*/ 606 h 608"/>
                <a:gd name="T34" fmla="*/ 266 w 532"/>
                <a:gd name="T35" fmla="*/ 608 h 608"/>
                <a:gd name="T36" fmla="*/ 212 w 532"/>
                <a:gd name="T37" fmla="*/ 602 h 608"/>
                <a:gd name="T38" fmla="*/ 164 w 532"/>
                <a:gd name="T39" fmla="*/ 584 h 608"/>
                <a:gd name="T40" fmla="*/ 118 w 532"/>
                <a:gd name="T41" fmla="*/ 556 h 608"/>
                <a:gd name="T42" fmla="*/ 78 w 532"/>
                <a:gd name="T43" fmla="*/ 518 h 608"/>
                <a:gd name="T44" fmla="*/ 46 w 532"/>
                <a:gd name="T45" fmla="*/ 474 h 608"/>
                <a:gd name="T46" fmla="*/ 22 w 532"/>
                <a:gd name="T47" fmla="*/ 422 h 608"/>
                <a:gd name="T48" fmla="*/ 6 w 532"/>
                <a:gd name="T49" fmla="*/ 364 h 608"/>
                <a:gd name="T50" fmla="*/ 0 w 532"/>
                <a:gd name="T51" fmla="*/ 304 h 608"/>
                <a:gd name="T52" fmla="*/ 2 w 532"/>
                <a:gd name="T53" fmla="*/ 272 h 608"/>
                <a:gd name="T54" fmla="*/ 12 w 532"/>
                <a:gd name="T55" fmla="*/ 214 h 608"/>
                <a:gd name="T56" fmla="*/ 34 w 532"/>
                <a:gd name="T57" fmla="*/ 158 h 608"/>
                <a:gd name="T58" fmla="*/ 62 w 532"/>
                <a:gd name="T59" fmla="*/ 110 h 608"/>
                <a:gd name="T60" fmla="*/ 98 w 532"/>
                <a:gd name="T61" fmla="*/ 70 h 608"/>
                <a:gd name="T62" fmla="*/ 140 w 532"/>
                <a:gd name="T63" fmla="*/ 36 h 608"/>
                <a:gd name="T64" fmla="*/ 188 w 532"/>
                <a:gd name="T65" fmla="*/ 14 h 608"/>
                <a:gd name="T66" fmla="*/ 240 w 532"/>
                <a:gd name="T67" fmla="*/ 2 h 608"/>
                <a:gd name="T68" fmla="*/ 266 w 532"/>
                <a:gd name="T69" fmla="*/ 0 h 60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32"/>
                <a:gd name="T106" fmla="*/ 0 h 608"/>
                <a:gd name="T107" fmla="*/ 532 w 532"/>
                <a:gd name="T108" fmla="*/ 608 h 60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32" h="608">
                  <a:moveTo>
                    <a:pt x="266" y="0"/>
                  </a:moveTo>
                  <a:lnTo>
                    <a:pt x="266" y="0"/>
                  </a:lnTo>
                  <a:lnTo>
                    <a:pt x="294" y="2"/>
                  </a:lnTo>
                  <a:lnTo>
                    <a:pt x="320" y="6"/>
                  </a:lnTo>
                  <a:lnTo>
                    <a:pt x="346" y="14"/>
                  </a:lnTo>
                  <a:lnTo>
                    <a:pt x="370" y="24"/>
                  </a:lnTo>
                  <a:lnTo>
                    <a:pt x="392" y="36"/>
                  </a:lnTo>
                  <a:lnTo>
                    <a:pt x="414" y="52"/>
                  </a:lnTo>
                  <a:lnTo>
                    <a:pt x="436" y="70"/>
                  </a:lnTo>
                  <a:lnTo>
                    <a:pt x="454" y="88"/>
                  </a:lnTo>
                  <a:lnTo>
                    <a:pt x="472" y="110"/>
                  </a:lnTo>
                  <a:lnTo>
                    <a:pt x="486" y="134"/>
                  </a:lnTo>
                  <a:lnTo>
                    <a:pt x="500" y="158"/>
                  </a:lnTo>
                  <a:lnTo>
                    <a:pt x="510" y="186"/>
                  </a:lnTo>
                  <a:lnTo>
                    <a:pt x="520" y="214"/>
                  </a:lnTo>
                  <a:lnTo>
                    <a:pt x="526" y="242"/>
                  </a:lnTo>
                  <a:lnTo>
                    <a:pt x="530" y="272"/>
                  </a:lnTo>
                  <a:lnTo>
                    <a:pt x="532" y="304"/>
                  </a:lnTo>
                  <a:lnTo>
                    <a:pt x="530" y="334"/>
                  </a:lnTo>
                  <a:lnTo>
                    <a:pt x="526" y="364"/>
                  </a:lnTo>
                  <a:lnTo>
                    <a:pt x="520" y="394"/>
                  </a:lnTo>
                  <a:lnTo>
                    <a:pt x="510" y="422"/>
                  </a:lnTo>
                  <a:lnTo>
                    <a:pt x="500" y="448"/>
                  </a:lnTo>
                  <a:lnTo>
                    <a:pt x="486" y="474"/>
                  </a:lnTo>
                  <a:lnTo>
                    <a:pt x="472" y="496"/>
                  </a:lnTo>
                  <a:lnTo>
                    <a:pt x="454" y="518"/>
                  </a:lnTo>
                  <a:lnTo>
                    <a:pt x="436" y="538"/>
                  </a:lnTo>
                  <a:lnTo>
                    <a:pt x="414" y="556"/>
                  </a:lnTo>
                  <a:lnTo>
                    <a:pt x="392" y="570"/>
                  </a:lnTo>
                  <a:lnTo>
                    <a:pt x="370" y="584"/>
                  </a:lnTo>
                  <a:lnTo>
                    <a:pt x="346" y="594"/>
                  </a:lnTo>
                  <a:lnTo>
                    <a:pt x="320" y="602"/>
                  </a:lnTo>
                  <a:lnTo>
                    <a:pt x="294" y="606"/>
                  </a:lnTo>
                  <a:lnTo>
                    <a:pt x="266" y="608"/>
                  </a:lnTo>
                  <a:lnTo>
                    <a:pt x="240" y="606"/>
                  </a:lnTo>
                  <a:lnTo>
                    <a:pt x="212" y="602"/>
                  </a:lnTo>
                  <a:lnTo>
                    <a:pt x="188" y="594"/>
                  </a:lnTo>
                  <a:lnTo>
                    <a:pt x="164" y="584"/>
                  </a:lnTo>
                  <a:lnTo>
                    <a:pt x="140" y="570"/>
                  </a:lnTo>
                  <a:lnTo>
                    <a:pt x="118" y="556"/>
                  </a:lnTo>
                  <a:lnTo>
                    <a:pt x="98" y="538"/>
                  </a:lnTo>
                  <a:lnTo>
                    <a:pt x="78" y="518"/>
                  </a:lnTo>
                  <a:lnTo>
                    <a:pt x="62" y="496"/>
                  </a:lnTo>
                  <a:lnTo>
                    <a:pt x="46" y="474"/>
                  </a:lnTo>
                  <a:lnTo>
                    <a:pt x="34" y="448"/>
                  </a:lnTo>
                  <a:lnTo>
                    <a:pt x="22" y="422"/>
                  </a:lnTo>
                  <a:lnTo>
                    <a:pt x="12" y="394"/>
                  </a:lnTo>
                  <a:lnTo>
                    <a:pt x="6" y="364"/>
                  </a:lnTo>
                  <a:lnTo>
                    <a:pt x="2" y="334"/>
                  </a:lnTo>
                  <a:lnTo>
                    <a:pt x="0" y="304"/>
                  </a:lnTo>
                  <a:lnTo>
                    <a:pt x="2" y="272"/>
                  </a:lnTo>
                  <a:lnTo>
                    <a:pt x="6" y="242"/>
                  </a:lnTo>
                  <a:lnTo>
                    <a:pt x="12" y="214"/>
                  </a:lnTo>
                  <a:lnTo>
                    <a:pt x="22" y="186"/>
                  </a:lnTo>
                  <a:lnTo>
                    <a:pt x="34" y="158"/>
                  </a:lnTo>
                  <a:lnTo>
                    <a:pt x="46" y="134"/>
                  </a:lnTo>
                  <a:lnTo>
                    <a:pt x="62" y="110"/>
                  </a:lnTo>
                  <a:lnTo>
                    <a:pt x="78" y="88"/>
                  </a:lnTo>
                  <a:lnTo>
                    <a:pt x="98" y="70"/>
                  </a:lnTo>
                  <a:lnTo>
                    <a:pt x="118" y="52"/>
                  </a:lnTo>
                  <a:lnTo>
                    <a:pt x="140" y="36"/>
                  </a:lnTo>
                  <a:lnTo>
                    <a:pt x="164" y="24"/>
                  </a:lnTo>
                  <a:lnTo>
                    <a:pt x="188" y="14"/>
                  </a:lnTo>
                  <a:lnTo>
                    <a:pt x="212" y="6"/>
                  </a:lnTo>
                  <a:lnTo>
                    <a:pt x="240" y="2"/>
                  </a:lnTo>
                  <a:lnTo>
                    <a:pt x="266" y="0"/>
                  </a:lnTo>
                  <a:close/>
                </a:path>
              </a:pathLst>
            </a:custGeom>
            <a:solidFill>
              <a:srgbClr val="F7EF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221"/>
            <p:cNvSpPr>
              <a:spLocks/>
            </p:cNvSpPr>
            <p:nvPr/>
          </p:nvSpPr>
          <p:spPr bwMode="auto">
            <a:xfrm>
              <a:off x="4284" y="2573"/>
              <a:ext cx="510" cy="590"/>
            </a:xfrm>
            <a:custGeom>
              <a:avLst/>
              <a:gdLst>
                <a:gd name="T0" fmla="*/ 254 w 510"/>
                <a:gd name="T1" fmla="*/ 0 h 590"/>
                <a:gd name="T2" fmla="*/ 306 w 510"/>
                <a:gd name="T3" fmla="*/ 6 h 590"/>
                <a:gd name="T4" fmla="*/ 354 w 510"/>
                <a:gd name="T5" fmla="*/ 22 h 590"/>
                <a:gd name="T6" fmla="*/ 396 w 510"/>
                <a:gd name="T7" fmla="*/ 50 h 590"/>
                <a:gd name="T8" fmla="*/ 434 w 510"/>
                <a:gd name="T9" fmla="*/ 86 h 590"/>
                <a:gd name="T10" fmla="*/ 466 w 510"/>
                <a:gd name="T11" fmla="*/ 130 h 590"/>
                <a:gd name="T12" fmla="*/ 490 w 510"/>
                <a:gd name="T13" fmla="*/ 180 h 590"/>
                <a:gd name="T14" fmla="*/ 504 w 510"/>
                <a:gd name="T15" fmla="*/ 236 h 590"/>
                <a:gd name="T16" fmla="*/ 510 w 510"/>
                <a:gd name="T17" fmla="*/ 294 h 590"/>
                <a:gd name="T18" fmla="*/ 508 w 510"/>
                <a:gd name="T19" fmla="*/ 324 h 590"/>
                <a:gd name="T20" fmla="*/ 498 w 510"/>
                <a:gd name="T21" fmla="*/ 382 h 590"/>
                <a:gd name="T22" fmla="*/ 478 w 510"/>
                <a:gd name="T23" fmla="*/ 434 h 590"/>
                <a:gd name="T24" fmla="*/ 450 w 510"/>
                <a:gd name="T25" fmla="*/ 482 h 590"/>
                <a:gd name="T26" fmla="*/ 416 w 510"/>
                <a:gd name="T27" fmla="*/ 522 h 590"/>
                <a:gd name="T28" fmla="*/ 376 w 510"/>
                <a:gd name="T29" fmla="*/ 554 h 590"/>
                <a:gd name="T30" fmla="*/ 330 w 510"/>
                <a:gd name="T31" fmla="*/ 576 h 590"/>
                <a:gd name="T32" fmla="*/ 280 w 510"/>
                <a:gd name="T33" fmla="*/ 588 h 590"/>
                <a:gd name="T34" fmla="*/ 254 w 510"/>
                <a:gd name="T35" fmla="*/ 590 h 590"/>
                <a:gd name="T36" fmla="*/ 204 w 510"/>
                <a:gd name="T37" fmla="*/ 584 h 590"/>
                <a:gd name="T38" fmla="*/ 156 w 510"/>
                <a:gd name="T39" fmla="*/ 566 h 590"/>
                <a:gd name="T40" fmla="*/ 112 w 510"/>
                <a:gd name="T41" fmla="*/ 538 h 590"/>
                <a:gd name="T42" fmla="*/ 74 w 510"/>
                <a:gd name="T43" fmla="*/ 502 h 590"/>
                <a:gd name="T44" fmla="*/ 44 w 510"/>
                <a:gd name="T45" fmla="*/ 460 h 590"/>
                <a:gd name="T46" fmla="*/ 20 w 510"/>
                <a:gd name="T47" fmla="*/ 408 h 590"/>
                <a:gd name="T48" fmla="*/ 6 w 510"/>
                <a:gd name="T49" fmla="*/ 354 h 590"/>
                <a:gd name="T50" fmla="*/ 0 w 510"/>
                <a:gd name="T51" fmla="*/ 294 h 590"/>
                <a:gd name="T52" fmla="*/ 2 w 510"/>
                <a:gd name="T53" fmla="*/ 264 h 590"/>
                <a:gd name="T54" fmla="*/ 12 w 510"/>
                <a:gd name="T55" fmla="*/ 206 h 590"/>
                <a:gd name="T56" fmla="*/ 30 w 510"/>
                <a:gd name="T57" fmla="*/ 154 h 590"/>
                <a:gd name="T58" fmla="*/ 58 w 510"/>
                <a:gd name="T59" fmla="*/ 106 h 590"/>
                <a:gd name="T60" fmla="*/ 92 w 510"/>
                <a:gd name="T61" fmla="*/ 66 h 590"/>
                <a:gd name="T62" fmla="*/ 134 w 510"/>
                <a:gd name="T63" fmla="*/ 36 h 590"/>
                <a:gd name="T64" fmla="*/ 178 w 510"/>
                <a:gd name="T65" fmla="*/ 12 h 590"/>
                <a:gd name="T66" fmla="*/ 228 w 510"/>
                <a:gd name="T67" fmla="*/ 0 h 590"/>
                <a:gd name="T68" fmla="*/ 254 w 510"/>
                <a:gd name="T69" fmla="*/ 0 h 5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10"/>
                <a:gd name="T106" fmla="*/ 0 h 590"/>
                <a:gd name="T107" fmla="*/ 510 w 510"/>
                <a:gd name="T108" fmla="*/ 590 h 5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10" h="590">
                  <a:moveTo>
                    <a:pt x="254" y="0"/>
                  </a:moveTo>
                  <a:lnTo>
                    <a:pt x="254" y="0"/>
                  </a:lnTo>
                  <a:lnTo>
                    <a:pt x="280" y="0"/>
                  </a:lnTo>
                  <a:lnTo>
                    <a:pt x="306" y="6"/>
                  </a:lnTo>
                  <a:lnTo>
                    <a:pt x="330" y="12"/>
                  </a:lnTo>
                  <a:lnTo>
                    <a:pt x="354" y="22"/>
                  </a:lnTo>
                  <a:lnTo>
                    <a:pt x="376" y="36"/>
                  </a:lnTo>
                  <a:lnTo>
                    <a:pt x="396" y="50"/>
                  </a:lnTo>
                  <a:lnTo>
                    <a:pt x="416" y="66"/>
                  </a:lnTo>
                  <a:lnTo>
                    <a:pt x="434" y="86"/>
                  </a:lnTo>
                  <a:lnTo>
                    <a:pt x="450" y="106"/>
                  </a:lnTo>
                  <a:lnTo>
                    <a:pt x="466" y="130"/>
                  </a:lnTo>
                  <a:lnTo>
                    <a:pt x="478" y="154"/>
                  </a:lnTo>
                  <a:lnTo>
                    <a:pt x="490" y="180"/>
                  </a:lnTo>
                  <a:lnTo>
                    <a:pt x="498" y="206"/>
                  </a:lnTo>
                  <a:lnTo>
                    <a:pt x="504" y="236"/>
                  </a:lnTo>
                  <a:lnTo>
                    <a:pt x="508" y="264"/>
                  </a:lnTo>
                  <a:lnTo>
                    <a:pt x="510" y="294"/>
                  </a:lnTo>
                  <a:lnTo>
                    <a:pt x="508" y="324"/>
                  </a:lnTo>
                  <a:lnTo>
                    <a:pt x="504" y="354"/>
                  </a:lnTo>
                  <a:lnTo>
                    <a:pt x="498" y="382"/>
                  </a:lnTo>
                  <a:lnTo>
                    <a:pt x="490" y="408"/>
                  </a:lnTo>
                  <a:lnTo>
                    <a:pt x="478" y="434"/>
                  </a:lnTo>
                  <a:lnTo>
                    <a:pt x="466" y="460"/>
                  </a:lnTo>
                  <a:lnTo>
                    <a:pt x="450" y="482"/>
                  </a:lnTo>
                  <a:lnTo>
                    <a:pt x="434" y="502"/>
                  </a:lnTo>
                  <a:lnTo>
                    <a:pt x="416" y="522"/>
                  </a:lnTo>
                  <a:lnTo>
                    <a:pt x="396" y="538"/>
                  </a:lnTo>
                  <a:lnTo>
                    <a:pt x="376" y="554"/>
                  </a:lnTo>
                  <a:lnTo>
                    <a:pt x="354" y="566"/>
                  </a:lnTo>
                  <a:lnTo>
                    <a:pt x="330" y="576"/>
                  </a:lnTo>
                  <a:lnTo>
                    <a:pt x="306" y="584"/>
                  </a:lnTo>
                  <a:lnTo>
                    <a:pt x="280" y="588"/>
                  </a:lnTo>
                  <a:lnTo>
                    <a:pt x="254" y="590"/>
                  </a:lnTo>
                  <a:lnTo>
                    <a:pt x="228" y="588"/>
                  </a:lnTo>
                  <a:lnTo>
                    <a:pt x="204" y="584"/>
                  </a:lnTo>
                  <a:lnTo>
                    <a:pt x="178" y="576"/>
                  </a:lnTo>
                  <a:lnTo>
                    <a:pt x="156" y="566"/>
                  </a:lnTo>
                  <a:lnTo>
                    <a:pt x="134" y="554"/>
                  </a:lnTo>
                  <a:lnTo>
                    <a:pt x="112" y="538"/>
                  </a:lnTo>
                  <a:lnTo>
                    <a:pt x="92" y="522"/>
                  </a:lnTo>
                  <a:lnTo>
                    <a:pt x="74" y="502"/>
                  </a:lnTo>
                  <a:lnTo>
                    <a:pt x="58" y="482"/>
                  </a:lnTo>
                  <a:lnTo>
                    <a:pt x="44" y="460"/>
                  </a:lnTo>
                  <a:lnTo>
                    <a:pt x="30" y="434"/>
                  </a:lnTo>
                  <a:lnTo>
                    <a:pt x="20" y="408"/>
                  </a:lnTo>
                  <a:lnTo>
                    <a:pt x="12" y="382"/>
                  </a:lnTo>
                  <a:lnTo>
                    <a:pt x="6" y="354"/>
                  </a:lnTo>
                  <a:lnTo>
                    <a:pt x="2" y="324"/>
                  </a:lnTo>
                  <a:lnTo>
                    <a:pt x="0" y="294"/>
                  </a:lnTo>
                  <a:lnTo>
                    <a:pt x="2" y="264"/>
                  </a:lnTo>
                  <a:lnTo>
                    <a:pt x="6" y="236"/>
                  </a:lnTo>
                  <a:lnTo>
                    <a:pt x="12" y="206"/>
                  </a:lnTo>
                  <a:lnTo>
                    <a:pt x="20" y="180"/>
                  </a:lnTo>
                  <a:lnTo>
                    <a:pt x="30" y="154"/>
                  </a:lnTo>
                  <a:lnTo>
                    <a:pt x="44" y="130"/>
                  </a:lnTo>
                  <a:lnTo>
                    <a:pt x="58" y="106"/>
                  </a:lnTo>
                  <a:lnTo>
                    <a:pt x="74" y="86"/>
                  </a:lnTo>
                  <a:lnTo>
                    <a:pt x="92" y="66"/>
                  </a:lnTo>
                  <a:lnTo>
                    <a:pt x="112" y="50"/>
                  </a:lnTo>
                  <a:lnTo>
                    <a:pt x="134" y="36"/>
                  </a:lnTo>
                  <a:lnTo>
                    <a:pt x="156" y="22"/>
                  </a:lnTo>
                  <a:lnTo>
                    <a:pt x="178" y="12"/>
                  </a:lnTo>
                  <a:lnTo>
                    <a:pt x="204" y="6"/>
                  </a:lnTo>
                  <a:lnTo>
                    <a:pt x="228" y="0"/>
                  </a:lnTo>
                  <a:lnTo>
                    <a:pt x="254" y="0"/>
                  </a:lnTo>
                  <a:close/>
                </a:path>
              </a:pathLst>
            </a:custGeom>
            <a:solidFill>
              <a:srgbClr val="F7F2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222"/>
            <p:cNvSpPr>
              <a:spLocks/>
            </p:cNvSpPr>
            <p:nvPr/>
          </p:nvSpPr>
          <p:spPr bwMode="auto">
            <a:xfrm>
              <a:off x="4300" y="2581"/>
              <a:ext cx="486" cy="572"/>
            </a:xfrm>
            <a:custGeom>
              <a:avLst/>
              <a:gdLst>
                <a:gd name="T0" fmla="*/ 242 w 486"/>
                <a:gd name="T1" fmla="*/ 0 h 572"/>
                <a:gd name="T2" fmla="*/ 292 w 486"/>
                <a:gd name="T3" fmla="*/ 6 h 572"/>
                <a:gd name="T4" fmla="*/ 338 w 486"/>
                <a:gd name="T5" fmla="*/ 22 h 572"/>
                <a:gd name="T6" fmla="*/ 378 w 486"/>
                <a:gd name="T7" fmla="*/ 48 h 572"/>
                <a:gd name="T8" fmla="*/ 414 w 486"/>
                <a:gd name="T9" fmla="*/ 84 h 572"/>
                <a:gd name="T10" fmla="*/ 444 w 486"/>
                <a:gd name="T11" fmla="*/ 126 h 572"/>
                <a:gd name="T12" fmla="*/ 468 w 486"/>
                <a:gd name="T13" fmla="*/ 174 h 572"/>
                <a:gd name="T14" fmla="*/ 482 w 486"/>
                <a:gd name="T15" fmla="*/ 228 h 572"/>
                <a:gd name="T16" fmla="*/ 486 w 486"/>
                <a:gd name="T17" fmla="*/ 286 h 572"/>
                <a:gd name="T18" fmla="*/ 486 w 486"/>
                <a:gd name="T19" fmla="*/ 314 h 572"/>
                <a:gd name="T20" fmla="*/ 476 w 486"/>
                <a:gd name="T21" fmla="*/ 370 h 572"/>
                <a:gd name="T22" fmla="*/ 456 w 486"/>
                <a:gd name="T23" fmla="*/ 422 h 572"/>
                <a:gd name="T24" fmla="*/ 430 w 486"/>
                <a:gd name="T25" fmla="*/ 466 h 572"/>
                <a:gd name="T26" fmla="*/ 398 w 486"/>
                <a:gd name="T27" fmla="*/ 506 h 572"/>
                <a:gd name="T28" fmla="*/ 358 w 486"/>
                <a:gd name="T29" fmla="*/ 536 h 572"/>
                <a:gd name="T30" fmla="*/ 316 w 486"/>
                <a:gd name="T31" fmla="*/ 558 h 572"/>
                <a:gd name="T32" fmla="*/ 268 w 486"/>
                <a:gd name="T33" fmla="*/ 570 h 572"/>
                <a:gd name="T34" fmla="*/ 242 w 486"/>
                <a:gd name="T35" fmla="*/ 572 h 572"/>
                <a:gd name="T36" fmla="*/ 194 w 486"/>
                <a:gd name="T37" fmla="*/ 566 h 572"/>
                <a:gd name="T38" fmla="*/ 148 w 486"/>
                <a:gd name="T39" fmla="*/ 548 h 572"/>
                <a:gd name="T40" fmla="*/ 106 w 486"/>
                <a:gd name="T41" fmla="*/ 522 h 572"/>
                <a:gd name="T42" fmla="*/ 70 w 486"/>
                <a:gd name="T43" fmla="*/ 488 h 572"/>
                <a:gd name="T44" fmla="*/ 40 w 486"/>
                <a:gd name="T45" fmla="*/ 444 h 572"/>
                <a:gd name="T46" fmla="*/ 18 w 486"/>
                <a:gd name="T47" fmla="*/ 396 h 572"/>
                <a:gd name="T48" fmla="*/ 4 w 486"/>
                <a:gd name="T49" fmla="*/ 342 h 572"/>
                <a:gd name="T50" fmla="*/ 0 w 486"/>
                <a:gd name="T51" fmla="*/ 286 h 572"/>
                <a:gd name="T52" fmla="*/ 0 w 486"/>
                <a:gd name="T53" fmla="*/ 256 h 572"/>
                <a:gd name="T54" fmla="*/ 10 w 486"/>
                <a:gd name="T55" fmla="*/ 200 h 572"/>
                <a:gd name="T56" fmla="*/ 28 w 486"/>
                <a:gd name="T57" fmla="*/ 150 h 572"/>
                <a:gd name="T58" fmla="*/ 54 w 486"/>
                <a:gd name="T59" fmla="*/ 104 h 572"/>
                <a:gd name="T60" fmla="*/ 88 w 486"/>
                <a:gd name="T61" fmla="*/ 64 h 572"/>
                <a:gd name="T62" fmla="*/ 126 w 486"/>
                <a:gd name="T63" fmla="*/ 34 h 572"/>
                <a:gd name="T64" fmla="*/ 170 w 486"/>
                <a:gd name="T65" fmla="*/ 12 h 572"/>
                <a:gd name="T66" fmla="*/ 218 w 486"/>
                <a:gd name="T67" fmla="*/ 0 h 572"/>
                <a:gd name="T68" fmla="*/ 242 w 486"/>
                <a:gd name="T69" fmla="*/ 0 h 5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86"/>
                <a:gd name="T106" fmla="*/ 0 h 572"/>
                <a:gd name="T107" fmla="*/ 486 w 486"/>
                <a:gd name="T108" fmla="*/ 572 h 5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86" h="572">
                  <a:moveTo>
                    <a:pt x="242" y="0"/>
                  </a:moveTo>
                  <a:lnTo>
                    <a:pt x="242" y="0"/>
                  </a:lnTo>
                  <a:lnTo>
                    <a:pt x="268" y="0"/>
                  </a:lnTo>
                  <a:lnTo>
                    <a:pt x="292" y="6"/>
                  </a:lnTo>
                  <a:lnTo>
                    <a:pt x="316" y="12"/>
                  </a:lnTo>
                  <a:lnTo>
                    <a:pt x="338" y="22"/>
                  </a:lnTo>
                  <a:lnTo>
                    <a:pt x="358" y="34"/>
                  </a:lnTo>
                  <a:lnTo>
                    <a:pt x="378" y="48"/>
                  </a:lnTo>
                  <a:lnTo>
                    <a:pt x="398" y="64"/>
                  </a:lnTo>
                  <a:lnTo>
                    <a:pt x="414" y="84"/>
                  </a:lnTo>
                  <a:lnTo>
                    <a:pt x="430" y="104"/>
                  </a:lnTo>
                  <a:lnTo>
                    <a:pt x="444" y="126"/>
                  </a:lnTo>
                  <a:lnTo>
                    <a:pt x="456" y="150"/>
                  </a:lnTo>
                  <a:lnTo>
                    <a:pt x="468" y="174"/>
                  </a:lnTo>
                  <a:lnTo>
                    <a:pt x="476" y="200"/>
                  </a:lnTo>
                  <a:lnTo>
                    <a:pt x="482" y="228"/>
                  </a:lnTo>
                  <a:lnTo>
                    <a:pt x="486" y="256"/>
                  </a:lnTo>
                  <a:lnTo>
                    <a:pt x="486" y="286"/>
                  </a:lnTo>
                  <a:lnTo>
                    <a:pt x="486" y="314"/>
                  </a:lnTo>
                  <a:lnTo>
                    <a:pt x="482" y="342"/>
                  </a:lnTo>
                  <a:lnTo>
                    <a:pt x="476" y="370"/>
                  </a:lnTo>
                  <a:lnTo>
                    <a:pt x="468" y="396"/>
                  </a:lnTo>
                  <a:lnTo>
                    <a:pt x="456" y="422"/>
                  </a:lnTo>
                  <a:lnTo>
                    <a:pt x="444" y="444"/>
                  </a:lnTo>
                  <a:lnTo>
                    <a:pt x="430" y="466"/>
                  </a:lnTo>
                  <a:lnTo>
                    <a:pt x="414" y="488"/>
                  </a:lnTo>
                  <a:lnTo>
                    <a:pt x="398" y="506"/>
                  </a:lnTo>
                  <a:lnTo>
                    <a:pt x="378" y="522"/>
                  </a:lnTo>
                  <a:lnTo>
                    <a:pt x="358" y="536"/>
                  </a:lnTo>
                  <a:lnTo>
                    <a:pt x="338" y="548"/>
                  </a:lnTo>
                  <a:lnTo>
                    <a:pt x="316" y="558"/>
                  </a:lnTo>
                  <a:lnTo>
                    <a:pt x="292" y="566"/>
                  </a:lnTo>
                  <a:lnTo>
                    <a:pt x="268" y="570"/>
                  </a:lnTo>
                  <a:lnTo>
                    <a:pt x="242" y="572"/>
                  </a:lnTo>
                  <a:lnTo>
                    <a:pt x="218" y="570"/>
                  </a:lnTo>
                  <a:lnTo>
                    <a:pt x="194" y="566"/>
                  </a:lnTo>
                  <a:lnTo>
                    <a:pt x="170" y="558"/>
                  </a:lnTo>
                  <a:lnTo>
                    <a:pt x="148" y="548"/>
                  </a:lnTo>
                  <a:lnTo>
                    <a:pt x="126" y="536"/>
                  </a:lnTo>
                  <a:lnTo>
                    <a:pt x="106" y="522"/>
                  </a:lnTo>
                  <a:lnTo>
                    <a:pt x="88" y="506"/>
                  </a:lnTo>
                  <a:lnTo>
                    <a:pt x="70" y="488"/>
                  </a:lnTo>
                  <a:lnTo>
                    <a:pt x="54" y="466"/>
                  </a:lnTo>
                  <a:lnTo>
                    <a:pt x="40" y="444"/>
                  </a:lnTo>
                  <a:lnTo>
                    <a:pt x="28" y="422"/>
                  </a:lnTo>
                  <a:lnTo>
                    <a:pt x="18" y="396"/>
                  </a:lnTo>
                  <a:lnTo>
                    <a:pt x="10" y="370"/>
                  </a:lnTo>
                  <a:lnTo>
                    <a:pt x="4" y="342"/>
                  </a:lnTo>
                  <a:lnTo>
                    <a:pt x="0" y="314"/>
                  </a:lnTo>
                  <a:lnTo>
                    <a:pt x="0" y="286"/>
                  </a:lnTo>
                  <a:lnTo>
                    <a:pt x="0" y="256"/>
                  </a:lnTo>
                  <a:lnTo>
                    <a:pt x="4" y="228"/>
                  </a:lnTo>
                  <a:lnTo>
                    <a:pt x="10" y="200"/>
                  </a:lnTo>
                  <a:lnTo>
                    <a:pt x="18" y="174"/>
                  </a:lnTo>
                  <a:lnTo>
                    <a:pt x="28" y="150"/>
                  </a:lnTo>
                  <a:lnTo>
                    <a:pt x="40" y="126"/>
                  </a:lnTo>
                  <a:lnTo>
                    <a:pt x="54" y="104"/>
                  </a:lnTo>
                  <a:lnTo>
                    <a:pt x="70" y="84"/>
                  </a:lnTo>
                  <a:lnTo>
                    <a:pt x="88" y="64"/>
                  </a:lnTo>
                  <a:lnTo>
                    <a:pt x="106" y="48"/>
                  </a:lnTo>
                  <a:lnTo>
                    <a:pt x="126" y="34"/>
                  </a:lnTo>
                  <a:lnTo>
                    <a:pt x="148" y="22"/>
                  </a:lnTo>
                  <a:lnTo>
                    <a:pt x="170" y="12"/>
                  </a:lnTo>
                  <a:lnTo>
                    <a:pt x="194" y="6"/>
                  </a:lnTo>
                  <a:lnTo>
                    <a:pt x="218" y="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7F71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223"/>
            <p:cNvSpPr>
              <a:spLocks/>
            </p:cNvSpPr>
            <p:nvPr/>
          </p:nvSpPr>
          <p:spPr bwMode="auto">
            <a:xfrm>
              <a:off x="4694" y="2543"/>
              <a:ext cx="138" cy="114"/>
            </a:xfrm>
            <a:custGeom>
              <a:avLst/>
              <a:gdLst>
                <a:gd name="T0" fmla="*/ 0 w 138"/>
                <a:gd name="T1" fmla="*/ 22 h 114"/>
                <a:gd name="T2" fmla="*/ 0 w 138"/>
                <a:gd name="T3" fmla="*/ 22 h 114"/>
                <a:gd name="T4" fmla="*/ 0 w 138"/>
                <a:gd name="T5" fmla="*/ 24 h 114"/>
                <a:gd name="T6" fmla="*/ 4 w 138"/>
                <a:gd name="T7" fmla="*/ 26 h 114"/>
                <a:gd name="T8" fmla="*/ 6 w 138"/>
                <a:gd name="T9" fmla="*/ 26 h 114"/>
                <a:gd name="T10" fmla="*/ 12 w 138"/>
                <a:gd name="T11" fmla="*/ 26 h 114"/>
                <a:gd name="T12" fmla="*/ 28 w 138"/>
                <a:gd name="T13" fmla="*/ 18 h 114"/>
                <a:gd name="T14" fmla="*/ 28 w 138"/>
                <a:gd name="T15" fmla="*/ 18 h 114"/>
                <a:gd name="T16" fmla="*/ 48 w 138"/>
                <a:gd name="T17" fmla="*/ 6 h 114"/>
                <a:gd name="T18" fmla="*/ 68 w 138"/>
                <a:gd name="T19" fmla="*/ 2 h 114"/>
                <a:gd name="T20" fmla="*/ 76 w 138"/>
                <a:gd name="T21" fmla="*/ 0 h 114"/>
                <a:gd name="T22" fmla="*/ 82 w 138"/>
                <a:gd name="T23" fmla="*/ 0 h 114"/>
                <a:gd name="T24" fmla="*/ 88 w 138"/>
                <a:gd name="T25" fmla="*/ 4 h 114"/>
                <a:gd name="T26" fmla="*/ 94 w 138"/>
                <a:gd name="T27" fmla="*/ 8 h 114"/>
                <a:gd name="T28" fmla="*/ 94 w 138"/>
                <a:gd name="T29" fmla="*/ 8 h 114"/>
                <a:gd name="T30" fmla="*/ 110 w 138"/>
                <a:gd name="T31" fmla="*/ 28 h 114"/>
                <a:gd name="T32" fmla="*/ 118 w 138"/>
                <a:gd name="T33" fmla="*/ 38 h 114"/>
                <a:gd name="T34" fmla="*/ 118 w 138"/>
                <a:gd name="T35" fmla="*/ 42 h 114"/>
                <a:gd name="T36" fmla="*/ 120 w 138"/>
                <a:gd name="T37" fmla="*/ 48 h 114"/>
                <a:gd name="T38" fmla="*/ 120 w 138"/>
                <a:gd name="T39" fmla="*/ 48 h 114"/>
                <a:gd name="T40" fmla="*/ 120 w 138"/>
                <a:gd name="T41" fmla="*/ 56 h 114"/>
                <a:gd name="T42" fmla="*/ 126 w 138"/>
                <a:gd name="T43" fmla="*/ 68 h 114"/>
                <a:gd name="T44" fmla="*/ 136 w 138"/>
                <a:gd name="T45" fmla="*/ 92 h 114"/>
                <a:gd name="T46" fmla="*/ 136 w 138"/>
                <a:gd name="T47" fmla="*/ 92 h 114"/>
                <a:gd name="T48" fmla="*/ 136 w 138"/>
                <a:gd name="T49" fmla="*/ 100 h 114"/>
                <a:gd name="T50" fmla="*/ 138 w 138"/>
                <a:gd name="T51" fmla="*/ 106 h 114"/>
                <a:gd name="T52" fmla="*/ 136 w 138"/>
                <a:gd name="T53" fmla="*/ 114 h 114"/>
                <a:gd name="T54" fmla="*/ 136 w 138"/>
                <a:gd name="T55" fmla="*/ 114 h 114"/>
                <a:gd name="T56" fmla="*/ 118 w 138"/>
                <a:gd name="T57" fmla="*/ 88 h 114"/>
                <a:gd name="T58" fmla="*/ 94 w 138"/>
                <a:gd name="T59" fmla="*/ 58 h 114"/>
                <a:gd name="T60" fmla="*/ 94 w 138"/>
                <a:gd name="T61" fmla="*/ 58 h 114"/>
                <a:gd name="T62" fmla="*/ 82 w 138"/>
                <a:gd name="T63" fmla="*/ 48 h 114"/>
                <a:gd name="T64" fmla="*/ 72 w 138"/>
                <a:gd name="T65" fmla="*/ 40 h 114"/>
                <a:gd name="T66" fmla="*/ 58 w 138"/>
                <a:gd name="T67" fmla="*/ 32 h 114"/>
                <a:gd name="T68" fmla="*/ 58 w 138"/>
                <a:gd name="T69" fmla="*/ 32 h 114"/>
                <a:gd name="T70" fmla="*/ 0 w 138"/>
                <a:gd name="T71" fmla="*/ 22 h 114"/>
                <a:gd name="T72" fmla="*/ 0 w 138"/>
                <a:gd name="T73" fmla="*/ 22 h 11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38"/>
                <a:gd name="T112" fmla="*/ 0 h 114"/>
                <a:gd name="T113" fmla="*/ 138 w 138"/>
                <a:gd name="T114" fmla="*/ 114 h 11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38" h="114">
                  <a:moveTo>
                    <a:pt x="0" y="22"/>
                  </a:moveTo>
                  <a:lnTo>
                    <a:pt x="0" y="22"/>
                  </a:lnTo>
                  <a:lnTo>
                    <a:pt x="0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12" y="26"/>
                  </a:lnTo>
                  <a:lnTo>
                    <a:pt x="28" y="18"/>
                  </a:lnTo>
                  <a:lnTo>
                    <a:pt x="48" y="6"/>
                  </a:lnTo>
                  <a:lnTo>
                    <a:pt x="68" y="2"/>
                  </a:lnTo>
                  <a:lnTo>
                    <a:pt x="76" y="0"/>
                  </a:lnTo>
                  <a:lnTo>
                    <a:pt x="82" y="0"/>
                  </a:lnTo>
                  <a:lnTo>
                    <a:pt x="88" y="4"/>
                  </a:lnTo>
                  <a:lnTo>
                    <a:pt x="94" y="8"/>
                  </a:lnTo>
                  <a:lnTo>
                    <a:pt x="110" y="28"/>
                  </a:lnTo>
                  <a:lnTo>
                    <a:pt x="118" y="38"/>
                  </a:lnTo>
                  <a:lnTo>
                    <a:pt x="118" y="42"/>
                  </a:lnTo>
                  <a:lnTo>
                    <a:pt x="120" y="48"/>
                  </a:lnTo>
                  <a:lnTo>
                    <a:pt x="120" y="56"/>
                  </a:lnTo>
                  <a:lnTo>
                    <a:pt x="126" y="68"/>
                  </a:lnTo>
                  <a:lnTo>
                    <a:pt x="136" y="92"/>
                  </a:lnTo>
                  <a:lnTo>
                    <a:pt x="136" y="100"/>
                  </a:lnTo>
                  <a:lnTo>
                    <a:pt x="138" y="106"/>
                  </a:lnTo>
                  <a:lnTo>
                    <a:pt x="136" y="114"/>
                  </a:lnTo>
                  <a:lnTo>
                    <a:pt x="118" y="88"/>
                  </a:lnTo>
                  <a:lnTo>
                    <a:pt x="94" y="58"/>
                  </a:lnTo>
                  <a:lnTo>
                    <a:pt x="82" y="48"/>
                  </a:lnTo>
                  <a:lnTo>
                    <a:pt x="72" y="40"/>
                  </a:lnTo>
                  <a:lnTo>
                    <a:pt x="58" y="3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FFC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224"/>
            <p:cNvSpPr>
              <a:spLocks/>
            </p:cNvSpPr>
            <p:nvPr/>
          </p:nvSpPr>
          <p:spPr bwMode="auto">
            <a:xfrm>
              <a:off x="4684" y="2523"/>
              <a:ext cx="158" cy="174"/>
            </a:xfrm>
            <a:custGeom>
              <a:avLst/>
              <a:gdLst>
                <a:gd name="T0" fmla="*/ 64 w 158"/>
                <a:gd name="T1" fmla="*/ 6 h 174"/>
                <a:gd name="T2" fmla="*/ 64 w 158"/>
                <a:gd name="T3" fmla="*/ 6 h 174"/>
                <a:gd name="T4" fmla="*/ 74 w 158"/>
                <a:gd name="T5" fmla="*/ 2 h 174"/>
                <a:gd name="T6" fmla="*/ 84 w 158"/>
                <a:gd name="T7" fmla="*/ 0 h 174"/>
                <a:gd name="T8" fmla="*/ 94 w 158"/>
                <a:gd name="T9" fmla="*/ 0 h 174"/>
                <a:gd name="T10" fmla="*/ 104 w 158"/>
                <a:gd name="T11" fmla="*/ 6 h 174"/>
                <a:gd name="T12" fmla="*/ 114 w 158"/>
                <a:gd name="T13" fmla="*/ 14 h 174"/>
                <a:gd name="T14" fmla="*/ 122 w 158"/>
                <a:gd name="T15" fmla="*/ 26 h 174"/>
                <a:gd name="T16" fmla="*/ 130 w 158"/>
                <a:gd name="T17" fmla="*/ 40 h 174"/>
                <a:gd name="T18" fmla="*/ 138 w 158"/>
                <a:gd name="T19" fmla="*/ 58 h 174"/>
                <a:gd name="T20" fmla="*/ 138 w 158"/>
                <a:gd name="T21" fmla="*/ 58 h 174"/>
                <a:gd name="T22" fmla="*/ 146 w 158"/>
                <a:gd name="T23" fmla="*/ 88 h 174"/>
                <a:gd name="T24" fmla="*/ 152 w 158"/>
                <a:gd name="T25" fmla="*/ 112 h 174"/>
                <a:gd name="T26" fmla="*/ 156 w 158"/>
                <a:gd name="T27" fmla="*/ 132 h 174"/>
                <a:gd name="T28" fmla="*/ 158 w 158"/>
                <a:gd name="T29" fmla="*/ 148 h 174"/>
                <a:gd name="T30" fmla="*/ 158 w 158"/>
                <a:gd name="T31" fmla="*/ 168 h 174"/>
                <a:gd name="T32" fmla="*/ 158 w 158"/>
                <a:gd name="T33" fmla="*/ 174 h 174"/>
                <a:gd name="T34" fmla="*/ 158 w 158"/>
                <a:gd name="T35" fmla="*/ 174 h 174"/>
                <a:gd name="T36" fmla="*/ 154 w 158"/>
                <a:gd name="T37" fmla="*/ 146 h 174"/>
                <a:gd name="T38" fmla="*/ 146 w 158"/>
                <a:gd name="T39" fmla="*/ 122 h 174"/>
                <a:gd name="T40" fmla="*/ 136 w 158"/>
                <a:gd name="T41" fmla="*/ 96 h 174"/>
                <a:gd name="T42" fmla="*/ 122 w 158"/>
                <a:gd name="T43" fmla="*/ 68 h 174"/>
                <a:gd name="T44" fmla="*/ 114 w 158"/>
                <a:gd name="T45" fmla="*/ 58 h 174"/>
                <a:gd name="T46" fmla="*/ 106 w 158"/>
                <a:gd name="T47" fmla="*/ 48 h 174"/>
                <a:gd name="T48" fmla="*/ 96 w 158"/>
                <a:gd name="T49" fmla="*/ 40 h 174"/>
                <a:gd name="T50" fmla="*/ 86 w 158"/>
                <a:gd name="T51" fmla="*/ 36 h 174"/>
                <a:gd name="T52" fmla="*/ 76 w 158"/>
                <a:gd name="T53" fmla="*/ 34 h 174"/>
                <a:gd name="T54" fmla="*/ 66 w 158"/>
                <a:gd name="T55" fmla="*/ 36 h 174"/>
                <a:gd name="T56" fmla="*/ 66 w 158"/>
                <a:gd name="T57" fmla="*/ 36 h 174"/>
                <a:gd name="T58" fmla="*/ 44 w 158"/>
                <a:gd name="T59" fmla="*/ 44 h 174"/>
                <a:gd name="T60" fmla="*/ 28 w 158"/>
                <a:gd name="T61" fmla="*/ 52 h 174"/>
                <a:gd name="T62" fmla="*/ 28 w 158"/>
                <a:gd name="T63" fmla="*/ 52 h 174"/>
                <a:gd name="T64" fmla="*/ 22 w 158"/>
                <a:gd name="T65" fmla="*/ 54 h 174"/>
                <a:gd name="T66" fmla="*/ 16 w 158"/>
                <a:gd name="T67" fmla="*/ 54 h 174"/>
                <a:gd name="T68" fmla="*/ 10 w 158"/>
                <a:gd name="T69" fmla="*/ 52 h 174"/>
                <a:gd name="T70" fmla="*/ 6 w 158"/>
                <a:gd name="T71" fmla="*/ 48 h 174"/>
                <a:gd name="T72" fmla="*/ 2 w 158"/>
                <a:gd name="T73" fmla="*/ 44 h 174"/>
                <a:gd name="T74" fmla="*/ 0 w 158"/>
                <a:gd name="T75" fmla="*/ 38 h 174"/>
                <a:gd name="T76" fmla="*/ 2 w 158"/>
                <a:gd name="T77" fmla="*/ 32 h 174"/>
                <a:gd name="T78" fmla="*/ 4 w 158"/>
                <a:gd name="T79" fmla="*/ 24 h 174"/>
                <a:gd name="T80" fmla="*/ 4 w 158"/>
                <a:gd name="T81" fmla="*/ 24 h 174"/>
                <a:gd name="T82" fmla="*/ 4 w 158"/>
                <a:gd name="T83" fmla="*/ 24 h 174"/>
                <a:gd name="T84" fmla="*/ 6 w 158"/>
                <a:gd name="T85" fmla="*/ 24 h 174"/>
                <a:gd name="T86" fmla="*/ 8 w 158"/>
                <a:gd name="T87" fmla="*/ 30 h 174"/>
                <a:gd name="T88" fmla="*/ 14 w 158"/>
                <a:gd name="T89" fmla="*/ 36 h 174"/>
                <a:gd name="T90" fmla="*/ 18 w 158"/>
                <a:gd name="T91" fmla="*/ 36 h 174"/>
                <a:gd name="T92" fmla="*/ 22 w 158"/>
                <a:gd name="T93" fmla="*/ 36 h 174"/>
                <a:gd name="T94" fmla="*/ 22 w 158"/>
                <a:gd name="T95" fmla="*/ 36 h 174"/>
                <a:gd name="T96" fmla="*/ 32 w 158"/>
                <a:gd name="T97" fmla="*/ 32 h 174"/>
                <a:gd name="T98" fmla="*/ 40 w 158"/>
                <a:gd name="T99" fmla="*/ 26 h 174"/>
                <a:gd name="T100" fmla="*/ 48 w 158"/>
                <a:gd name="T101" fmla="*/ 18 h 174"/>
                <a:gd name="T102" fmla="*/ 64 w 158"/>
                <a:gd name="T103" fmla="*/ 6 h 174"/>
                <a:gd name="T104" fmla="*/ 64 w 158"/>
                <a:gd name="T105" fmla="*/ 6 h 17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8"/>
                <a:gd name="T160" fmla="*/ 0 h 174"/>
                <a:gd name="T161" fmla="*/ 158 w 158"/>
                <a:gd name="T162" fmla="*/ 174 h 17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8" h="174">
                  <a:moveTo>
                    <a:pt x="64" y="6"/>
                  </a:moveTo>
                  <a:lnTo>
                    <a:pt x="64" y="6"/>
                  </a:lnTo>
                  <a:lnTo>
                    <a:pt x="74" y="2"/>
                  </a:lnTo>
                  <a:lnTo>
                    <a:pt x="84" y="0"/>
                  </a:lnTo>
                  <a:lnTo>
                    <a:pt x="94" y="0"/>
                  </a:lnTo>
                  <a:lnTo>
                    <a:pt x="104" y="6"/>
                  </a:lnTo>
                  <a:lnTo>
                    <a:pt x="114" y="14"/>
                  </a:lnTo>
                  <a:lnTo>
                    <a:pt x="122" y="26"/>
                  </a:lnTo>
                  <a:lnTo>
                    <a:pt x="130" y="40"/>
                  </a:lnTo>
                  <a:lnTo>
                    <a:pt x="138" y="58"/>
                  </a:lnTo>
                  <a:lnTo>
                    <a:pt x="146" y="88"/>
                  </a:lnTo>
                  <a:lnTo>
                    <a:pt x="152" y="112"/>
                  </a:lnTo>
                  <a:lnTo>
                    <a:pt x="156" y="132"/>
                  </a:lnTo>
                  <a:lnTo>
                    <a:pt x="158" y="148"/>
                  </a:lnTo>
                  <a:lnTo>
                    <a:pt x="158" y="168"/>
                  </a:lnTo>
                  <a:lnTo>
                    <a:pt x="158" y="174"/>
                  </a:lnTo>
                  <a:lnTo>
                    <a:pt x="154" y="146"/>
                  </a:lnTo>
                  <a:lnTo>
                    <a:pt x="146" y="122"/>
                  </a:lnTo>
                  <a:lnTo>
                    <a:pt x="136" y="96"/>
                  </a:lnTo>
                  <a:lnTo>
                    <a:pt x="122" y="68"/>
                  </a:lnTo>
                  <a:lnTo>
                    <a:pt x="114" y="58"/>
                  </a:lnTo>
                  <a:lnTo>
                    <a:pt x="106" y="48"/>
                  </a:lnTo>
                  <a:lnTo>
                    <a:pt x="96" y="40"/>
                  </a:lnTo>
                  <a:lnTo>
                    <a:pt x="86" y="36"/>
                  </a:lnTo>
                  <a:lnTo>
                    <a:pt x="76" y="34"/>
                  </a:lnTo>
                  <a:lnTo>
                    <a:pt x="66" y="36"/>
                  </a:lnTo>
                  <a:lnTo>
                    <a:pt x="44" y="44"/>
                  </a:lnTo>
                  <a:lnTo>
                    <a:pt x="28" y="52"/>
                  </a:lnTo>
                  <a:lnTo>
                    <a:pt x="22" y="54"/>
                  </a:lnTo>
                  <a:lnTo>
                    <a:pt x="16" y="54"/>
                  </a:lnTo>
                  <a:lnTo>
                    <a:pt x="10" y="52"/>
                  </a:lnTo>
                  <a:lnTo>
                    <a:pt x="6" y="48"/>
                  </a:lnTo>
                  <a:lnTo>
                    <a:pt x="2" y="44"/>
                  </a:lnTo>
                  <a:lnTo>
                    <a:pt x="0" y="38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8" y="30"/>
                  </a:lnTo>
                  <a:lnTo>
                    <a:pt x="14" y="36"/>
                  </a:lnTo>
                  <a:lnTo>
                    <a:pt x="18" y="36"/>
                  </a:lnTo>
                  <a:lnTo>
                    <a:pt x="22" y="36"/>
                  </a:lnTo>
                  <a:lnTo>
                    <a:pt x="32" y="32"/>
                  </a:lnTo>
                  <a:lnTo>
                    <a:pt x="40" y="26"/>
                  </a:lnTo>
                  <a:lnTo>
                    <a:pt x="48" y="18"/>
                  </a:lnTo>
                  <a:lnTo>
                    <a:pt x="64" y="6"/>
                  </a:lnTo>
                  <a:close/>
                </a:path>
              </a:pathLst>
            </a:custGeom>
            <a:solidFill>
              <a:srgbClr val="FA610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25"/>
            <p:cNvSpPr>
              <a:spLocks/>
            </p:cNvSpPr>
            <p:nvPr/>
          </p:nvSpPr>
          <p:spPr bwMode="auto">
            <a:xfrm>
              <a:off x="4346" y="2431"/>
              <a:ext cx="112" cy="46"/>
            </a:xfrm>
            <a:custGeom>
              <a:avLst/>
              <a:gdLst>
                <a:gd name="T0" fmla="*/ 2 w 112"/>
                <a:gd name="T1" fmla="*/ 42 h 46"/>
                <a:gd name="T2" fmla="*/ 2 w 112"/>
                <a:gd name="T3" fmla="*/ 42 h 46"/>
                <a:gd name="T4" fmla="*/ 8 w 112"/>
                <a:gd name="T5" fmla="*/ 34 h 46"/>
                <a:gd name="T6" fmla="*/ 20 w 112"/>
                <a:gd name="T7" fmla="*/ 20 h 46"/>
                <a:gd name="T8" fmla="*/ 28 w 112"/>
                <a:gd name="T9" fmla="*/ 12 h 46"/>
                <a:gd name="T10" fmla="*/ 38 w 112"/>
                <a:gd name="T11" fmla="*/ 4 h 46"/>
                <a:gd name="T12" fmla="*/ 50 w 112"/>
                <a:gd name="T13" fmla="*/ 0 h 46"/>
                <a:gd name="T14" fmla="*/ 62 w 112"/>
                <a:gd name="T15" fmla="*/ 0 h 46"/>
                <a:gd name="T16" fmla="*/ 62 w 112"/>
                <a:gd name="T17" fmla="*/ 0 h 46"/>
                <a:gd name="T18" fmla="*/ 84 w 112"/>
                <a:gd name="T19" fmla="*/ 6 h 46"/>
                <a:gd name="T20" fmla="*/ 98 w 112"/>
                <a:gd name="T21" fmla="*/ 12 h 46"/>
                <a:gd name="T22" fmla="*/ 108 w 112"/>
                <a:gd name="T23" fmla="*/ 18 h 46"/>
                <a:gd name="T24" fmla="*/ 112 w 112"/>
                <a:gd name="T25" fmla="*/ 22 h 46"/>
                <a:gd name="T26" fmla="*/ 112 w 112"/>
                <a:gd name="T27" fmla="*/ 22 h 46"/>
                <a:gd name="T28" fmla="*/ 112 w 112"/>
                <a:gd name="T29" fmla="*/ 24 h 46"/>
                <a:gd name="T30" fmla="*/ 112 w 112"/>
                <a:gd name="T31" fmla="*/ 28 h 46"/>
                <a:gd name="T32" fmla="*/ 108 w 112"/>
                <a:gd name="T33" fmla="*/ 30 h 46"/>
                <a:gd name="T34" fmla="*/ 104 w 112"/>
                <a:gd name="T35" fmla="*/ 30 h 46"/>
                <a:gd name="T36" fmla="*/ 104 w 112"/>
                <a:gd name="T37" fmla="*/ 30 h 46"/>
                <a:gd name="T38" fmla="*/ 78 w 112"/>
                <a:gd name="T39" fmla="*/ 30 h 46"/>
                <a:gd name="T40" fmla="*/ 58 w 112"/>
                <a:gd name="T41" fmla="*/ 32 h 46"/>
                <a:gd name="T42" fmla="*/ 38 w 112"/>
                <a:gd name="T43" fmla="*/ 36 h 46"/>
                <a:gd name="T44" fmla="*/ 38 w 112"/>
                <a:gd name="T45" fmla="*/ 36 h 46"/>
                <a:gd name="T46" fmla="*/ 22 w 112"/>
                <a:gd name="T47" fmla="*/ 42 h 46"/>
                <a:gd name="T48" fmla="*/ 10 w 112"/>
                <a:gd name="T49" fmla="*/ 44 h 46"/>
                <a:gd name="T50" fmla="*/ 0 w 112"/>
                <a:gd name="T51" fmla="*/ 46 h 46"/>
                <a:gd name="T52" fmla="*/ 0 w 112"/>
                <a:gd name="T53" fmla="*/ 46 h 46"/>
                <a:gd name="T54" fmla="*/ 0 w 112"/>
                <a:gd name="T55" fmla="*/ 44 h 46"/>
                <a:gd name="T56" fmla="*/ 2 w 112"/>
                <a:gd name="T57" fmla="*/ 42 h 46"/>
                <a:gd name="T58" fmla="*/ 2 w 112"/>
                <a:gd name="T59" fmla="*/ 42 h 4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2"/>
                <a:gd name="T91" fmla="*/ 0 h 46"/>
                <a:gd name="T92" fmla="*/ 112 w 112"/>
                <a:gd name="T93" fmla="*/ 46 h 4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2" h="46">
                  <a:moveTo>
                    <a:pt x="2" y="42"/>
                  </a:moveTo>
                  <a:lnTo>
                    <a:pt x="2" y="42"/>
                  </a:lnTo>
                  <a:lnTo>
                    <a:pt x="8" y="34"/>
                  </a:lnTo>
                  <a:lnTo>
                    <a:pt x="20" y="20"/>
                  </a:lnTo>
                  <a:lnTo>
                    <a:pt x="28" y="12"/>
                  </a:lnTo>
                  <a:lnTo>
                    <a:pt x="38" y="4"/>
                  </a:lnTo>
                  <a:lnTo>
                    <a:pt x="50" y="0"/>
                  </a:lnTo>
                  <a:lnTo>
                    <a:pt x="62" y="0"/>
                  </a:lnTo>
                  <a:lnTo>
                    <a:pt x="84" y="6"/>
                  </a:lnTo>
                  <a:lnTo>
                    <a:pt x="98" y="12"/>
                  </a:lnTo>
                  <a:lnTo>
                    <a:pt x="108" y="18"/>
                  </a:lnTo>
                  <a:lnTo>
                    <a:pt x="112" y="22"/>
                  </a:lnTo>
                  <a:lnTo>
                    <a:pt x="112" y="24"/>
                  </a:lnTo>
                  <a:lnTo>
                    <a:pt x="112" y="28"/>
                  </a:lnTo>
                  <a:lnTo>
                    <a:pt x="108" y="30"/>
                  </a:lnTo>
                  <a:lnTo>
                    <a:pt x="104" y="30"/>
                  </a:lnTo>
                  <a:lnTo>
                    <a:pt x="78" y="30"/>
                  </a:lnTo>
                  <a:lnTo>
                    <a:pt x="58" y="32"/>
                  </a:lnTo>
                  <a:lnTo>
                    <a:pt x="38" y="36"/>
                  </a:lnTo>
                  <a:lnTo>
                    <a:pt x="22" y="42"/>
                  </a:lnTo>
                  <a:lnTo>
                    <a:pt x="10" y="44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FFC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26"/>
            <p:cNvSpPr>
              <a:spLocks/>
            </p:cNvSpPr>
            <p:nvPr/>
          </p:nvSpPr>
          <p:spPr bwMode="auto">
            <a:xfrm>
              <a:off x="4304" y="2485"/>
              <a:ext cx="238" cy="330"/>
            </a:xfrm>
            <a:custGeom>
              <a:avLst/>
              <a:gdLst>
                <a:gd name="T0" fmla="*/ 170 w 238"/>
                <a:gd name="T1" fmla="*/ 330 h 330"/>
                <a:gd name="T2" fmla="*/ 170 w 238"/>
                <a:gd name="T3" fmla="*/ 330 h 330"/>
                <a:gd name="T4" fmla="*/ 184 w 238"/>
                <a:gd name="T5" fmla="*/ 316 h 330"/>
                <a:gd name="T6" fmla="*/ 196 w 238"/>
                <a:gd name="T7" fmla="*/ 298 h 330"/>
                <a:gd name="T8" fmla="*/ 208 w 238"/>
                <a:gd name="T9" fmla="*/ 276 h 330"/>
                <a:gd name="T10" fmla="*/ 218 w 238"/>
                <a:gd name="T11" fmla="*/ 254 h 330"/>
                <a:gd name="T12" fmla="*/ 226 w 238"/>
                <a:gd name="T13" fmla="*/ 228 h 330"/>
                <a:gd name="T14" fmla="*/ 234 w 238"/>
                <a:gd name="T15" fmla="*/ 202 h 330"/>
                <a:gd name="T16" fmla="*/ 238 w 238"/>
                <a:gd name="T17" fmla="*/ 176 h 330"/>
                <a:gd name="T18" fmla="*/ 238 w 238"/>
                <a:gd name="T19" fmla="*/ 150 h 330"/>
                <a:gd name="T20" fmla="*/ 238 w 238"/>
                <a:gd name="T21" fmla="*/ 150 h 330"/>
                <a:gd name="T22" fmla="*/ 236 w 238"/>
                <a:gd name="T23" fmla="*/ 134 h 330"/>
                <a:gd name="T24" fmla="*/ 234 w 238"/>
                <a:gd name="T25" fmla="*/ 116 h 330"/>
                <a:gd name="T26" fmla="*/ 230 w 238"/>
                <a:gd name="T27" fmla="*/ 100 h 330"/>
                <a:gd name="T28" fmla="*/ 226 w 238"/>
                <a:gd name="T29" fmla="*/ 86 h 330"/>
                <a:gd name="T30" fmla="*/ 220 w 238"/>
                <a:gd name="T31" fmla="*/ 72 h 330"/>
                <a:gd name="T32" fmla="*/ 212 w 238"/>
                <a:gd name="T33" fmla="*/ 60 h 330"/>
                <a:gd name="T34" fmla="*/ 204 w 238"/>
                <a:gd name="T35" fmla="*/ 48 h 330"/>
                <a:gd name="T36" fmla="*/ 196 w 238"/>
                <a:gd name="T37" fmla="*/ 38 h 330"/>
                <a:gd name="T38" fmla="*/ 188 w 238"/>
                <a:gd name="T39" fmla="*/ 28 h 330"/>
                <a:gd name="T40" fmla="*/ 178 w 238"/>
                <a:gd name="T41" fmla="*/ 20 h 330"/>
                <a:gd name="T42" fmla="*/ 166 w 238"/>
                <a:gd name="T43" fmla="*/ 12 h 330"/>
                <a:gd name="T44" fmla="*/ 156 w 238"/>
                <a:gd name="T45" fmla="*/ 8 h 330"/>
                <a:gd name="T46" fmla="*/ 144 w 238"/>
                <a:gd name="T47" fmla="*/ 4 h 330"/>
                <a:gd name="T48" fmla="*/ 134 w 238"/>
                <a:gd name="T49" fmla="*/ 0 h 330"/>
                <a:gd name="T50" fmla="*/ 122 w 238"/>
                <a:gd name="T51" fmla="*/ 0 h 330"/>
                <a:gd name="T52" fmla="*/ 110 w 238"/>
                <a:gd name="T53" fmla="*/ 0 h 330"/>
                <a:gd name="T54" fmla="*/ 110 w 238"/>
                <a:gd name="T55" fmla="*/ 0 h 330"/>
                <a:gd name="T56" fmla="*/ 98 w 238"/>
                <a:gd name="T57" fmla="*/ 2 h 330"/>
                <a:gd name="T58" fmla="*/ 88 w 238"/>
                <a:gd name="T59" fmla="*/ 6 h 330"/>
                <a:gd name="T60" fmla="*/ 76 w 238"/>
                <a:gd name="T61" fmla="*/ 12 h 330"/>
                <a:gd name="T62" fmla="*/ 66 w 238"/>
                <a:gd name="T63" fmla="*/ 20 h 330"/>
                <a:gd name="T64" fmla="*/ 56 w 238"/>
                <a:gd name="T65" fmla="*/ 28 h 330"/>
                <a:gd name="T66" fmla="*/ 48 w 238"/>
                <a:gd name="T67" fmla="*/ 40 h 330"/>
                <a:gd name="T68" fmla="*/ 38 w 238"/>
                <a:gd name="T69" fmla="*/ 50 h 330"/>
                <a:gd name="T70" fmla="*/ 30 w 238"/>
                <a:gd name="T71" fmla="*/ 64 h 330"/>
                <a:gd name="T72" fmla="*/ 18 w 238"/>
                <a:gd name="T73" fmla="*/ 92 h 330"/>
                <a:gd name="T74" fmla="*/ 8 w 238"/>
                <a:gd name="T75" fmla="*/ 124 h 330"/>
                <a:gd name="T76" fmla="*/ 2 w 238"/>
                <a:gd name="T77" fmla="*/ 158 h 330"/>
                <a:gd name="T78" fmla="*/ 0 w 238"/>
                <a:gd name="T79" fmla="*/ 176 h 330"/>
                <a:gd name="T80" fmla="*/ 0 w 238"/>
                <a:gd name="T81" fmla="*/ 194 h 330"/>
                <a:gd name="T82" fmla="*/ 0 w 238"/>
                <a:gd name="T83" fmla="*/ 194 h 330"/>
                <a:gd name="T84" fmla="*/ 4 w 238"/>
                <a:gd name="T85" fmla="*/ 228 h 330"/>
                <a:gd name="T86" fmla="*/ 12 w 238"/>
                <a:gd name="T87" fmla="*/ 260 h 330"/>
                <a:gd name="T88" fmla="*/ 22 w 238"/>
                <a:gd name="T89" fmla="*/ 288 h 330"/>
                <a:gd name="T90" fmla="*/ 30 w 238"/>
                <a:gd name="T91" fmla="*/ 300 h 330"/>
                <a:gd name="T92" fmla="*/ 38 w 238"/>
                <a:gd name="T93" fmla="*/ 312 h 330"/>
                <a:gd name="T94" fmla="*/ 38 w 238"/>
                <a:gd name="T95" fmla="*/ 312 h 330"/>
                <a:gd name="T96" fmla="*/ 54 w 238"/>
                <a:gd name="T97" fmla="*/ 306 h 330"/>
                <a:gd name="T98" fmla="*/ 74 w 238"/>
                <a:gd name="T99" fmla="*/ 302 h 330"/>
                <a:gd name="T100" fmla="*/ 94 w 238"/>
                <a:gd name="T101" fmla="*/ 302 h 330"/>
                <a:gd name="T102" fmla="*/ 106 w 238"/>
                <a:gd name="T103" fmla="*/ 304 h 330"/>
                <a:gd name="T104" fmla="*/ 116 w 238"/>
                <a:gd name="T105" fmla="*/ 306 h 330"/>
                <a:gd name="T106" fmla="*/ 116 w 238"/>
                <a:gd name="T107" fmla="*/ 306 h 330"/>
                <a:gd name="T108" fmla="*/ 144 w 238"/>
                <a:gd name="T109" fmla="*/ 316 h 330"/>
                <a:gd name="T110" fmla="*/ 160 w 238"/>
                <a:gd name="T111" fmla="*/ 324 h 330"/>
                <a:gd name="T112" fmla="*/ 168 w 238"/>
                <a:gd name="T113" fmla="*/ 330 h 330"/>
                <a:gd name="T114" fmla="*/ 168 w 238"/>
                <a:gd name="T115" fmla="*/ 330 h 330"/>
                <a:gd name="T116" fmla="*/ 170 w 238"/>
                <a:gd name="T117" fmla="*/ 330 h 330"/>
                <a:gd name="T118" fmla="*/ 170 w 238"/>
                <a:gd name="T119" fmla="*/ 330 h 3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38"/>
                <a:gd name="T181" fmla="*/ 0 h 330"/>
                <a:gd name="T182" fmla="*/ 238 w 238"/>
                <a:gd name="T183" fmla="*/ 330 h 3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38" h="330">
                  <a:moveTo>
                    <a:pt x="170" y="330"/>
                  </a:moveTo>
                  <a:lnTo>
                    <a:pt x="170" y="330"/>
                  </a:lnTo>
                  <a:lnTo>
                    <a:pt x="184" y="316"/>
                  </a:lnTo>
                  <a:lnTo>
                    <a:pt x="196" y="298"/>
                  </a:lnTo>
                  <a:lnTo>
                    <a:pt x="208" y="276"/>
                  </a:lnTo>
                  <a:lnTo>
                    <a:pt x="218" y="254"/>
                  </a:lnTo>
                  <a:lnTo>
                    <a:pt x="226" y="228"/>
                  </a:lnTo>
                  <a:lnTo>
                    <a:pt x="234" y="202"/>
                  </a:lnTo>
                  <a:lnTo>
                    <a:pt x="238" y="176"/>
                  </a:lnTo>
                  <a:lnTo>
                    <a:pt x="238" y="150"/>
                  </a:lnTo>
                  <a:lnTo>
                    <a:pt x="236" y="134"/>
                  </a:lnTo>
                  <a:lnTo>
                    <a:pt x="234" y="116"/>
                  </a:lnTo>
                  <a:lnTo>
                    <a:pt x="230" y="100"/>
                  </a:lnTo>
                  <a:lnTo>
                    <a:pt x="226" y="86"/>
                  </a:lnTo>
                  <a:lnTo>
                    <a:pt x="220" y="72"/>
                  </a:lnTo>
                  <a:lnTo>
                    <a:pt x="212" y="60"/>
                  </a:lnTo>
                  <a:lnTo>
                    <a:pt x="204" y="48"/>
                  </a:lnTo>
                  <a:lnTo>
                    <a:pt x="196" y="38"/>
                  </a:lnTo>
                  <a:lnTo>
                    <a:pt x="188" y="28"/>
                  </a:lnTo>
                  <a:lnTo>
                    <a:pt x="178" y="20"/>
                  </a:lnTo>
                  <a:lnTo>
                    <a:pt x="166" y="12"/>
                  </a:lnTo>
                  <a:lnTo>
                    <a:pt x="156" y="8"/>
                  </a:lnTo>
                  <a:lnTo>
                    <a:pt x="144" y="4"/>
                  </a:lnTo>
                  <a:lnTo>
                    <a:pt x="134" y="0"/>
                  </a:lnTo>
                  <a:lnTo>
                    <a:pt x="122" y="0"/>
                  </a:lnTo>
                  <a:lnTo>
                    <a:pt x="110" y="0"/>
                  </a:lnTo>
                  <a:lnTo>
                    <a:pt x="98" y="2"/>
                  </a:lnTo>
                  <a:lnTo>
                    <a:pt x="88" y="6"/>
                  </a:lnTo>
                  <a:lnTo>
                    <a:pt x="76" y="12"/>
                  </a:lnTo>
                  <a:lnTo>
                    <a:pt x="66" y="20"/>
                  </a:lnTo>
                  <a:lnTo>
                    <a:pt x="56" y="28"/>
                  </a:lnTo>
                  <a:lnTo>
                    <a:pt x="48" y="40"/>
                  </a:lnTo>
                  <a:lnTo>
                    <a:pt x="38" y="50"/>
                  </a:lnTo>
                  <a:lnTo>
                    <a:pt x="30" y="64"/>
                  </a:lnTo>
                  <a:lnTo>
                    <a:pt x="18" y="92"/>
                  </a:lnTo>
                  <a:lnTo>
                    <a:pt x="8" y="124"/>
                  </a:lnTo>
                  <a:lnTo>
                    <a:pt x="2" y="158"/>
                  </a:lnTo>
                  <a:lnTo>
                    <a:pt x="0" y="176"/>
                  </a:lnTo>
                  <a:lnTo>
                    <a:pt x="0" y="194"/>
                  </a:lnTo>
                  <a:lnTo>
                    <a:pt x="4" y="228"/>
                  </a:lnTo>
                  <a:lnTo>
                    <a:pt x="12" y="260"/>
                  </a:lnTo>
                  <a:lnTo>
                    <a:pt x="22" y="288"/>
                  </a:lnTo>
                  <a:lnTo>
                    <a:pt x="30" y="300"/>
                  </a:lnTo>
                  <a:lnTo>
                    <a:pt x="38" y="312"/>
                  </a:lnTo>
                  <a:lnTo>
                    <a:pt x="54" y="306"/>
                  </a:lnTo>
                  <a:lnTo>
                    <a:pt x="74" y="302"/>
                  </a:lnTo>
                  <a:lnTo>
                    <a:pt x="94" y="302"/>
                  </a:lnTo>
                  <a:lnTo>
                    <a:pt x="106" y="304"/>
                  </a:lnTo>
                  <a:lnTo>
                    <a:pt x="116" y="306"/>
                  </a:lnTo>
                  <a:lnTo>
                    <a:pt x="144" y="316"/>
                  </a:lnTo>
                  <a:lnTo>
                    <a:pt x="160" y="324"/>
                  </a:lnTo>
                  <a:lnTo>
                    <a:pt x="168" y="330"/>
                  </a:lnTo>
                  <a:lnTo>
                    <a:pt x="170" y="330"/>
                  </a:lnTo>
                  <a:close/>
                </a:path>
              </a:pathLst>
            </a:custGeom>
            <a:solidFill>
              <a:srgbClr val="FFC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227"/>
            <p:cNvSpPr>
              <a:spLocks/>
            </p:cNvSpPr>
            <p:nvPr/>
          </p:nvSpPr>
          <p:spPr bwMode="auto">
            <a:xfrm>
              <a:off x="4304" y="2489"/>
              <a:ext cx="208" cy="320"/>
            </a:xfrm>
            <a:custGeom>
              <a:avLst/>
              <a:gdLst>
                <a:gd name="T0" fmla="*/ 100 w 208"/>
                <a:gd name="T1" fmla="*/ 0 h 320"/>
                <a:gd name="T2" fmla="*/ 100 w 208"/>
                <a:gd name="T3" fmla="*/ 0 h 320"/>
                <a:gd name="T4" fmla="*/ 112 w 208"/>
                <a:gd name="T5" fmla="*/ 0 h 320"/>
                <a:gd name="T6" fmla="*/ 122 w 208"/>
                <a:gd name="T7" fmla="*/ 2 h 320"/>
                <a:gd name="T8" fmla="*/ 132 w 208"/>
                <a:gd name="T9" fmla="*/ 4 h 320"/>
                <a:gd name="T10" fmla="*/ 142 w 208"/>
                <a:gd name="T11" fmla="*/ 10 h 320"/>
                <a:gd name="T12" fmla="*/ 150 w 208"/>
                <a:gd name="T13" fmla="*/ 16 h 320"/>
                <a:gd name="T14" fmla="*/ 160 w 208"/>
                <a:gd name="T15" fmla="*/ 24 h 320"/>
                <a:gd name="T16" fmla="*/ 168 w 208"/>
                <a:gd name="T17" fmla="*/ 32 h 320"/>
                <a:gd name="T18" fmla="*/ 176 w 208"/>
                <a:gd name="T19" fmla="*/ 42 h 320"/>
                <a:gd name="T20" fmla="*/ 188 w 208"/>
                <a:gd name="T21" fmla="*/ 66 h 320"/>
                <a:gd name="T22" fmla="*/ 198 w 208"/>
                <a:gd name="T23" fmla="*/ 94 h 320"/>
                <a:gd name="T24" fmla="*/ 206 w 208"/>
                <a:gd name="T25" fmla="*/ 126 h 320"/>
                <a:gd name="T26" fmla="*/ 208 w 208"/>
                <a:gd name="T27" fmla="*/ 162 h 320"/>
                <a:gd name="T28" fmla="*/ 208 w 208"/>
                <a:gd name="T29" fmla="*/ 162 h 320"/>
                <a:gd name="T30" fmla="*/ 208 w 208"/>
                <a:gd name="T31" fmla="*/ 186 h 320"/>
                <a:gd name="T32" fmla="*/ 206 w 208"/>
                <a:gd name="T33" fmla="*/ 208 h 320"/>
                <a:gd name="T34" fmla="*/ 202 w 208"/>
                <a:gd name="T35" fmla="*/ 230 h 320"/>
                <a:gd name="T36" fmla="*/ 196 w 208"/>
                <a:gd name="T37" fmla="*/ 252 h 320"/>
                <a:gd name="T38" fmla="*/ 188 w 208"/>
                <a:gd name="T39" fmla="*/ 272 h 320"/>
                <a:gd name="T40" fmla="*/ 180 w 208"/>
                <a:gd name="T41" fmla="*/ 290 h 320"/>
                <a:gd name="T42" fmla="*/ 170 w 208"/>
                <a:gd name="T43" fmla="*/ 306 h 320"/>
                <a:gd name="T44" fmla="*/ 158 w 208"/>
                <a:gd name="T45" fmla="*/ 320 h 320"/>
                <a:gd name="T46" fmla="*/ 158 w 208"/>
                <a:gd name="T47" fmla="*/ 320 h 320"/>
                <a:gd name="T48" fmla="*/ 144 w 208"/>
                <a:gd name="T49" fmla="*/ 312 h 320"/>
                <a:gd name="T50" fmla="*/ 116 w 208"/>
                <a:gd name="T51" fmla="*/ 302 h 320"/>
                <a:gd name="T52" fmla="*/ 116 w 208"/>
                <a:gd name="T53" fmla="*/ 302 h 320"/>
                <a:gd name="T54" fmla="*/ 106 w 208"/>
                <a:gd name="T55" fmla="*/ 300 h 320"/>
                <a:gd name="T56" fmla="*/ 94 w 208"/>
                <a:gd name="T57" fmla="*/ 298 h 320"/>
                <a:gd name="T58" fmla="*/ 72 w 208"/>
                <a:gd name="T59" fmla="*/ 300 h 320"/>
                <a:gd name="T60" fmla="*/ 52 w 208"/>
                <a:gd name="T61" fmla="*/ 304 h 320"/>
                <a:gd name="T62" fmla="*/ 34 w 208"/>
                <a:gd name="T63" fmla="*/ 310 h 320"/>
                <a:gd name="T64" fmla="*/ 34 w 208"/>
                <a:gd name="T65" fmla="*/ 310 h 320"/>
                <a:gd name="T66" fmla="*/ 28 w 208"/>
                <a:gd name="T67" fmla="*/ 298 h 320"/>
                <a:gd name="T68" fmla="*/ 20 w 208"/>
                <a:gd name="T69" fmla="*/ 284 h 320"/>
                <a:gd name="T70" fmla="*/ 10 w 208"/>
                <a:gd name="T71" fmla="*/ 256 h 320"/>
                <a:gd name="T72" fmla="*/ 4 w 208"/>
                <a:gd name="T73" fmla="*/ 224 h 320"/>
                <a:gd name="T74" fmla="*/ 0 w 208"/>
                <a:gd name="T75" fmla="*/ 188 h 320"/>
                <a:gd name="T76" fmla="*/ 0 w 208"/>
                <a:gd name="T77" fmla="*/ 188 h 320"/>
                <a:gd name="T78" fmla="*/ 2 w 208"/>
                <a:gd name="T79" fmla="*/ 154 h 320"/>
                <a:gd name="T80" fmla="*/ 8 w 208"/>
                <a:gd name="T81" fmla="*/ 120 h 320"/>
                <a:gd name="T82" fmla="*/ 16 w 208"/>
                <a:gd name="T83" fmla="*/ 90 h 320"/>
                <a:gd name="T84" fmla="*/ 28 w 208"/>
                <a:gd name="T85" fmla="*/ 62 h 320"/>
                <a:gd name="T86" fmla="*/ 44 w 208"/>
                <a:gd name="T87" fmla="*/ 38 h 320"/>
                <a:gd name="T88" fmla="*/ 52 w 208"/>
                <a:gd name="T89" fmla="*/ 28 h 320"/>
                <a:gd name="T90" fmla="*/ 60 w 208"/>
                <a:gd name="T91" fmla="*/ 20 h 320"/>
                <a:gd name="T92" fmla="*/ 70 w 208"/>
                <a:gd name="T93" fmla="*/ 12 h 320"/>
                <a:gd name="T94" fmla="*/ 80 w 208"/>
                <a:gd name="T95" fmla="*/ 8 h 320"/>
                <a:gd name="T96" fmla="*/ 90 w 208"/>
                <a:gd name="T97" fmla="*/ 4 h 320"/>
                <a:gd name="T98" fmla="*/ 100 w 208"/>
                <a:gd name="T99" fmla="*/ 0 h 320"/>
                <a:gd name="T100" fmla="*/ 100 w 208"/>
                <a:gd name="T101" fmla="*/ 0 h 32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08"/>
                <a:gd name="T154" fmla="*/ 0 h 320"/>
                <a:gd name="T155" fmla="*/ 208 w 208"/>
                <a:gd name="T156" fmla="*/ 320 h 32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08" h="320">
                  <a:moveTo>
                    <a:pt x="100" y="0"/>
                  </a:moveTo>
                  <a:lnTo>
                    <a:pt x="100" y="0"/>
                  </a:lnTo>
                  <a:lnTo>
                    <a:pt x="112" y="0"/>
                  </a:lnTo>
                  <a:lnTo>
                    <a:pt x="122" y="2"/>
                  </a:lnTo>
                  <a:lnTo>
                    <a:pt x="132" y="4"/>
                  </a:lnTo>
                  <a:lnTo>
                    <a:pt x="142" y="10"/>
                  </a:lnTo>
                  <a:lnTo>
                    <a:pt x="150" y="16"/>
                  </a:lnTo>
                  <a:lnTo>
                    <a:pt x="160" y="24"/>
                  </a:lnTo>
                  <a:lnTo>
                    <a:pt x="168" y="32"/>
                  </a:lnTo>
                  <a:lnTo>
                    <a:pt x="176" y="42"/>
                  </a:lnTo>
                  <a:lnTo>
                    <a:pt x="188" y="66"/>
                  </a:lnTo>
                  <a:lnTo>
                    <a:pt x="198" y="94"/>
                  </a:lnTo>
                  <a:lnTo>
                    <a:pt x="206" y="126"/>
                  </a:lnTo>
                  <a:lnTo>
                    <a:pt x="208" y="162"/>
                  </a:lnTo>
                  <a:lnTo>
                    <a:pt x="208" y="186"/>
                  </a:lnTo>
                  <a:lnTo>
                    <a:pt x="206" y="208"/>
                  </a:lnTo>
                  <a:lnTo>
                    <a:pt x="202" y="230"/>
                  </a:lnTo>
                  <a:lnTo>
                    <a:pt x="196" y="252"/>
                  </a:lnTo>
                  <a:lnTo>
                    <a:pt x="188" y="272"/>
                  </a:lnTo>
                  <a:lnTo>
                    <a:pt x="180" y="290"/>
                  </a:lnTo>
                  <a:lnTo>
                    <a:pt x="170" y="306"/>
                  </a:lnTo>
                  <a:lnTo>
                    <a:pt x="158" y="320"/>
                  </a:lnTo>
                  <a:lnTo>
                    <a:pt x="144" y="312"/>
                  </a:lnTo>
                  <a:lnTo>
                    <a:pt x="116" y="302"/>
                  </a:lnTo>
                  <a:lnTo>
                    <a:pt x="106" y="300"/>
                  </a:lnTo>
                  <a:lnTo>
                    <a:pt x="94" y="298"/>
                  </a:lnTo>
                  <a:lnTo>
                    <a:pt x="72" y="300"/>
                  </a:lnTo>
                  <a:lnTo>
                    <a:pt x="52" y="304"/>
                  </a:lnTo>
                  <a:lnTo>
                    <a:pt x="34" y="310"/>
                  </a:lnTo>
                  <a:lnTo>
                    <a:pt x="28" y="298"/>
                  </a:lnTo>
                  <a:lnTo>
                    <a:pt x="20" y="284"/>
                  </a:lnTo>
                  <a:lnTo>
                    <a:pt x="10" y="256"/>
                  </a:lnTo>
                  <a:lnTo>
                    <a:pt x="4" y="224"/>
                  </a:lnTo>
                  <a:lnTo>
                    <a:pt x="0" y="188"/>
                  </a:lnTo>
                  <a:lnTo>
                    <a:pt x="2" y="154"/>
                  </a:lnTo>
                  <a:lnTo>
                    <a:pt x="8" y="120"/>
                  </a:lnTo>
                  <a:lnTo>
                    <a:pt x="16" y="90"/>
                  </a:lnTo>
                  <a:lnTo>
                    <a:pt x="28" y="62"/>
                  </a:lnTo>
                  <a:lnTo>
                    <a:pt x="44" y="38"/>
                  </a:lnTo>
                  <a:lnTo>
                    <a:pt x="52" y="28"/>
                  </a:lnTo>
                  <a:lnTo>
                    <a:pt x="60" y="20"/>
                  </a:lnTo>
                  <a:lnTo>
                    <a:pt x="70" y="12"/>
                  </a:lnTo>
                  <a:lnTo>
                    <a:pt x="80" y="8"/>
                  </a:lnTo>
                  <a:lnTo>
                    <a:pt x="90" y="4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F7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228"/>
            <p:cNvSpPr>
              <a:spLocks/>
            </p:cNvSpPr>
            <p:nvPr/>
          </p:nvSpPr>
          <p:spPr bwMode="auto">
            <a:xfrm>
              <a:off x="4316" y="2509"/>
              <a:ext cx="182" cy="294"/>
            </a:xfrm>
            <a:custGeom>
              <a:avLst/>
              <a:gdLst>
                <a:gd name="T0" fmla="*/ 94 w 182"/>
                <a:gd name="T1" fmla="*/ 0 h 294"/>
                <a:gd name="T2" fmla="*/ 94 w 182"/>
                <a:gd name="T3" fmla="*/ 0 h 294"/>
                <a:gd name="T4" fmla="*/ 102 w 182"/>
                <a:gd name="T5" fmla="*/ 0 h 294"/>
                <a:gd name="T6" fmla="*/ 112 w 182"/>
                <a:gd name="T7" fmla="*/ 2 h 294"/>
                <a:gd name="T8" fmla="*/ 120 w 182"/>
                <a:gd name="T9" fmla="*/ 6 h 294"/>
                <a:gd name="T10" fmla="*/ 128 w 182"/>
                <a:gd name="T11" fmla="*/ 12 h 294"/>
                <a:gd name="T12" fmla="*/ 136 w 182"/>
                <a:gd name="T13" fmla="*/ 18 h 294"/>
                <a:gd name="T14" fmla="*/ 144 w 182"/>
                <a:gd name="T15" fmla="*/ 26 h 294"/>
                <a:gd name="T16" fmla="*/ 158 w 182"/>
                <a:gd name="T17" fmla="*/ 44 h 294"/>
                <a:gd name="T18" fmla="*/ 168 w 182"/>
                <a:gd name="T19" fmla="*/ 68 h 294"/>
                <a:gd name="T20" fmla="*/ 176 w 182"/>
                <a:gd name="T21" fmla="*/ 94 h 294"/>
                <a:gd name="T22" fmla="*/ 182 w 182"/>
                <a:gd name="T23" fmla="*/ 124 h 294"/>
                <a:gd name="T24" fmla="*/ 182 w 182"/>
                <a:gd name="T25" fmla="*/ 156 h 294"/>
                <a:gd name="T26" fmla="*/ 182 w 182"/>
                <a:gd name="T27" fmla="*/ 156 h 294"/>
                <a:gd name="T28" fmla="*/ 182 w 182"/>
                <a:gd name="T29" fmla="*/ 178 h 294"/>
                <a:gd name="T30" fmla="*/ 178 w 182"/>
                <a:gd name="T31" fmla="*/ 198 h 294"/>
                <a:gd name="T32" fmla="*/ 174 w 182"/>
                <a:gd name="T33" fmla="*/ 218 h 294"/>
                <a:gd name="T34" fmla="*/ 168 w 182"/>
                <a:gd name="T35" fmla="*/ 236 h 294"/>
                <a:gd name="T36" fmla="*/ 162 w 182"/>
                <a:gd name="T37" fmla="*/ 254 h 294"/>
                <a:gd name="T38" fmla="*/ 154 w 182"/>
                <a:gd name="T39" fmla="*/ 268 h 294"/>
                <a:gd name="T40" fmla="*/ 144 w 182"/>
                <a:gd name="T41" fmla="*/ 282 h 294"/>
                <a:gd name="T42" fmla="*/ 134 w 182"/>
                <a:gd name="T43" fmla="*/ 294 h 294"/>
                <a:gd name="T44" fmla="*/ 134 w 182"/>
                <a:gd name="T45" fmla="*/ 294 h 294"/>
                <a:gd name="T46" fmla="*/ 104 w 182"/>
                <a:gd name="T47" fmla="*/ 282 h 294"/>
                <a:gd name="T48" fmla="*/ 104 w 182"/>
                <a:gd name="T49" fmla="*/ 282 h 294"/>
                <a:gd name="T50" fmla="*/ 86 w 182"/>
                <a:gd name="T51" fmla="*/ 278 h 294"/>
                <a:gd name="T52" fmla="*/ 70 w 182"/>
                <a:gd name="T53" fmla="*/ 278 h 294"/>
                <a:gd name="T54" fmla="*/ 52 w 182"/>
                <a:gd name="T55" fmla="*/ 280 h 294"/>
                <a:gd name="T56" fmla="*/ 38 w 182"/>
                <a:gd name="T57" fmla="*/ 284 h 294"/>
                <a:gd name="T58" fmla="*/ 38 w 182"/>
                <a:gd name="T59" fmla="*/ 284 h 294"/>
                <a:gd name="T60" fmla="*/ 28 w 182"/>
                <a:gd name="T61" fmla="*/ 272 h 294"/>
                <a:gd name="T62" fmla="*/ 22 w 182"/>
                <a:gd name="T63" fmla="*/ 260 h 294"/>
                <a:gd name="T64" fmla="*/ 16 w 182"/>
                <a:gd name="T65" fmla="*/ 246 h 294"/>
                <a:gd name="T66" fmla="*/ 10 w 182"/>
                <a:gd name="T67" fmla="*/ 230 h 294"/>
                <a:gd name="T68" fmla="*/ 6 w 182"/>
                <a:gd name="T69" fmla="*/ 212 h 294"/>
                <a:gd name="T70" fmla="*/ 2 w 182"/>
                <a:gd name="T71" fmla="*/ 194 h 294"/>
                <a:gd name="T72" fmla="*/ 2 w 182"/>
                <a:gd name="T73" fmla="*/ 176 h 294"/>
                <a:gd name="T74" fmla="*/ 0 w 182"/>
                <a:gd name="T75" fmla="*/ 156 h 294"/>
                <a:gd name="T76" fmla="*/ 0 w 182"/>
                <a:gd name="T77" fmla="*/ 156 h 294"/>
                <a:gd name="T78" fmla="*/ 2 w 182"/>
                <a:gd name="T79" fmla="*/ 126 h 294"/>
                <a:gd name="T80" fmla="*/ 8 w 182"/>
                <a:gd name="T81" fmla="*/ 96 h 294"/>
                <a:gd name="T82" fmla="*/ 18 w 182"/>
                <a:gd name="T83" fmla="*/ 70 h 294"/>
                <a:gd name="T84" fmla="*/ 28 w 182"/>
                <a:gd name="T85" fmla="*/ 46 h 294"/>
                <a:gd name="T86" fmla="*/ 42 w 182"/>
                <a:gd name="T87" fmla="*/ 26 h 294"/>
                <a:gd name="T88" fmla="*/ 50 w 182"/>
                <a:gd name="T89" fmla="*/ 18 h 294"/>
                <a:gd name="T90" fmla="*/ 58 w 182"/>
                <a:gd name="T91" fmla="*/ 12 h 294"/>
                <a:gd name="T92" fmla="*/ 66 w 182"/>
                <a:gd name="T93" fmla="*/ 6 h 294"/>
                <a:gd name="T94" fmla="*/ 76 w 182"/>
                <a:gd name="T95" fmla="*/ 2 h 294"/>
                <a:gd name="T96" fmla="*/ 84 w 182"/>
                <a:gd name="T97" fmla="*/ 0 h 294"/>
                <a:gd name="T98" fmla="*/ 94 w 182"/>
                <a:gd name="T99" fmla="*/ 0 h 294"/>
                <a:gd name="T100" fmla="*/ 94 w 182"/>
                <a:gd name="T101" fmla="*/ 0 h 2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82"/>
                <a:gd name="T154" fmla="*/ 0 h 294"/>
                <a:gd name="T155" fmla="*/ 182 w 182"/>
                <a:gd name="T156" fmla="*/ 294 h 2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82" h="294">
                  <a:moveTo>
                    <a:pt x="94" y="0"/>
                  </a:moveTo>
                  <a:lnTo>
                    <a:pt x="94" y="0"/>
                  </a:lnTo>
                  <a:lnTo>
                    <a:pt x="102" y="0"/>
                  </a:lnTo>
                  <a:lnTo>
                    <a:pt x="112" y="2"/>
                  </a:lnTo>
                  <a:lnTo>
                    <a:pt x="120" y="6"/>
                  </a:lnTo>
                  <a:lnTo>
                    <a:pt x="128" y="12"/>
                  </a:lnTo>
                  <a:lnTo>
                    <a:pt x="136" y="18"/>
                  </a:lnTo>
                  <a:lnTo>
                    <a:pt x="144" y="26"/>
                  </a:lnTo>
                  <a:lnTo>
                    <a:pt x="158" y="44"/>
                  </a:lnTo>
                  <a:lnTo>
                    <a:pt x="168" y="68"/>
                  </a:lnTo>
                  <a:lnTo>
                    <a:pt x="176" y="94"/>
                  </a:lnTo>
                  <a:lnTo>
                    <a:pt x="182" y="124"/>
                  </a:lnTo>
                  <a:lnTo>
                    <a:pt x="182" y="156"/>
                  </a:lnTo>
                  <a:lnTo>
                    <a:pt x="182" y="178"/>
                  </a:lnTo>
                  <a:lnTo>
                    <a:pt x="178" y="198"/>
                  </a:lnTo>
                  <a:lnTo>
                    <a:pt x="174" y="218"/>
                  </a:lnTo>
                  <a:lnTo>
                    <a:pt x="168" y="236"/>
                  </a:lnTo>
                  <a:lnTo>
                    <a:pt x="162" y="254"/>
                  </a:lnTo>
                  <a:lnTo>
                    <a:pt x="154" y="268"/>
                  </a:lnTo>
                  <a:lnTo>
                    <a:pt x="144" y="282"/>
                  </a:lnTo>
                  <a:lnTo>
                    <a:pt x="134" y="294"/>
                  </a:lnTo>
                  <a:lnTo>
                    <a:pt x="104" y="282"/>
                  </a:lnTo>
                  <a:lnTo>
                    <a:pt x="86" y="278"/>
                  </a:lnTo>
                  <a:lnTo>
                    <a:pt x="70" y="278"/>
                  </a:lnTo>
                  <a:lnTo>
                    <a:pt x="52" y="280"/>
                  </a:lnTo>
                  <a:lnTo>
                    <a:pt x="38" y="284"/>
                  </a:lnTo>
                  <a:lnTo>
                    <a:pt x="28" y="272"/>
                  </a:lnTo>
                  <a:lnTo>
                    <a:pt x="22" y="260"/>
                  </a:lnTo>
                  <a:lnTo>
                    <a:pt x="16" y="246"/>
                  </a:lnTo>
                  <a:lnTo>
                    <a:pt x="10" y="230"/>
                  </a:lnTo>
                  <a:lnTo>
                    <a:pt x="6" y="212"/>
                  </a:lnTo>
                  <a:lnTo>
                    <a:pt x="2" y="194"/>
                  </a:lnTo>
                  <a:lnTo>
                    <a:pt x="2" y="176"/>
                  </a:lnTo>
                  <a:lnTo>
                    <a:pt x="0" y="156"/>
                  </a:lnTo>
                  <a:lnTo>
                    <a:pt x="2" y="126"/>
                  </a:lnTo>
                  <a:lnTo>
                    <a:pt x="8" y="96"/>
                  </a:lnTo>
                  <a:lnTo>
                    <a:pt x="18" y="70"/>
                  </a:lnTo>
                  <a:lnTo>
                    <a:pt x="28" y="46"/>
                  </a:lnTo>
                  <a:lnTo>
                    <a:pt x="42" y="26"/>
                  </a:lnTo>
                  <a:lnTo>
                    <a:pt x="50" y="18"/>
                  </a:lnTo>
                  <a:lnTo>
                    <a:pt x="58" y="12"/>
                  </a:lnTo>
                  <a:lnTo>
                    <a:pt x="66" y="6"/>
                  </a:lnTo>
                  <a:lnTo>
                    <a:pt x="76" y="2"/>
                  </a:lnTo>
                  <a:lnTo>
                    <a:pt x="84" y="0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29"/>
            <p:cNvSpPr>
              <a:spLocks/>
            </p:cNvSpPr>
            <p:nvPr/>
          </p:nvSpPr>
          <p:spPr bwMode="auto">
            <a:xfrm>
              <a:off x="4316" y="2509"/>
              <a:ext cx="182" cy="176"/>
            </a:xfrm>
            <a:custGeom>
              <a:avLst/>
              <a:gdLst>
                <a:gd name="T0" fmla="*/ 94 w 182"/>
                <a:gd name="T1" fmla="*/ 26 h 176"/>
                <a:gd name="T2" fmla="*/ 94 w 182"/>
                <a:gd name="T3" fmla="*/ 26 h 176"/>
                <a:gd name="T4" fmla="*/ 84 w 182"/>
                <a:gd name="T5" fmla="*/ 28 h 176"/>
                <a:gd name="T6" fmla="*/ 76 w 182"/>
                <a:gd name="T7" fmla="*/ 30 h 176"/>
                <a:gd name="T8" fmla="*/ 68 w 182"/>
                <a:gd name="T9" fmla="*/ 34 h 176"/>
                <a:gd name="T10" fmla="*/ 60 w 182"/>
                <a:gd name="T11" fmla="*/ 38 h 176"/>
                <a:gd name="T12" fmla="*/ 44 w 182"/>
                <a:gd name="T13" fmla="*/ 52 h 176"/>
                <a:gd name="T14" fmla="*/ 30 w 182"/>
                <a:gd name="T15" fmla="*/ 70 h 176"/>
                <a:gd name="T16" fmla="*/ 20 w 182"/>
                <a:gd name="T17" fmla="*/ 92 h 176"/>
                <a:gd name="T18" fmla="*/ 10 w 182"/>
                <a:gd name="T19" fmla="*/ 118 h 176"/>
                <a:gd name="T20" fmla="*/ 4 w 182"/>
                <a:gd name="T21" fmla="*/ 146 h 176"/>
                <a:gd name="T22" fmla="*/ 2 w 182"/>
                <a:gd name="T23" fmla="*/ 176 h 176"/>
                <a:gd name="T24" fmla="*/ 2 w 182"/>
                <a:gd name="T25" fmla="*/ 176 h 176"/>
                <a:gd name="T26" fmla="*/ 0 w 182"/>
                <a:gd name="T27" fmla="*/ 156 h 176"/>
                <a:gd name="T28" fmla="*/ 0 w 182"/>
                <a:gd name="T29" fmla="*/ 156 h 176"/>
                <a:gd name="T30" fmla="*/ 2 w 182"/>
                <a:gd name="T31" fmla="*/ 126 h 176"/>
                <a:gd name="T32" fmla="*/ 8 w 182"/>
                <a:gd name="T33" fmla="*/ 96 h 176"/>
                <a:gd name="T34" fmla="*/ 18 w 182"/>
                <a:gd name="T35" fmla="*/ 70 h 176"/>
                <a:gd name="T36" fmla="*/ 28 w 182"/>
                <a:gd name="T37" fmla="*/ 46 h 176"/>
                <a:gd name="T38" fmla="*/ 42 w 182"/>
                <a:gd name="T39" fmla="*/ 26 h 176"/>
                <a:gd name="T40" fmla="*/ 50 w 182"/>
                <a:gd name="T41" fmla="*/ 18 h 176"/>
                <a:gd name="T42" fmla="*/ 58 w 182"/>
                <a:gd name="T43" fmla="*/ 12 h 176"/>
                <a:gd name="T44" fmla="*/ 66 w 182"/>
                <a:gd name="T45" fmla="*/ 6 h 176"/>
                <a:gd name="T46" fmla="*/ 76 w 182"/>
                <a:gd name="T47" fmla="*/ 2 h 176"/>
                <a:gd name="T48" fmla="*/ 84 w 182"/>
                <a:gd name="T49" fmla="*/ 0 h 176"/>
                <a:gd name="T50" fmla="*/ 94 w 182"/>
                <a:gd name="T51" fmla="*/ 0 h 176"/>
                <a:gd name="T52" fmla="*/ 94 w 182"/>
                <a:gd name="T53" fmla="*/ 0 h 176"/>
                <a:gd name="T54" fmla="*/ 102 w 182"/>
                <a:gd name="T55" fmla="*/ 0 h 176"/>
                <a:gd name="T56" fmla="*/ 112 w 182"/>
                <a:gd name="T57" fmla="*/ 2 h 176"/>
                <a:gd name="T58" fmla="*/ 120 w 182"/>
                <a:gd name="T59" fmla="*/ 6 h 176"/>
                <a:gd name="T60" fmla="*/ 128 w 182"/>
                <a:gd name="T61" fmla="*/ 12 h 176"/>
                <a:gd name="T62" fmla="*/ 136 w 182"/>
                <a:gd name="T63" fmla="*/ 18 h 176"/>
                <a:gd name="T64" fmla="*/ 144 w 182"/>
                <a:gd name="T65" fmla="*/ 26 h 176"/>
                <a:gd name="T66" fmla="*/ 158 w 182"/>
                <a:gd name="T67" fmla="*/ 44 h 176"/>
                <a:gd name="T68" fmla="*/ 168 w 182"/>
                <a:gd name="T69" fmla="*/ 68 h 176"/>
                <a:gd name="T70" fmla="*/ 176 w 182"/>
                <a:gd name="T71" fmla="*/ 94 h 176"/>
                <a:gd name="T72" fmla="*/ 182 w 182"/>
                <a:gd name="T73" fmla="*/ 124 h 176"/>
                <a:gd name="T74" fmla="*/ 182 w 182"/>
                <a:gd name="T75" fmla="*/ 156 h 176"/>
                <a:gd name="T76" fmla="*/ 182 w 182"/>
                <a:gd name="T77" fmla="*/ 156 h 176"/>
                <a:gd name="T78" fmla="*/ 182 w 182"/>
                <a:gd name="T79" fmla="*/ 164 h 176"/>
                <a:gd name="T80" fmla="*/ 182 w 182"/>
                <a:gd name="T81" fmla="*/ 164 h 176"/>
                <a:gd name="T82" fmla="*/ 178 w 182"/>
                <a:gd name="T83" fmla="*/ 136 h 176"/>
                <a:gd name="T84" fmla="*/ 172 w 182"/>
                <a:gd name="T85" fmla="*/ 110 h 176"/>
                <a:gd name="T86" fmla="*/ 164 w 182"/>
                <a:gd name="T87" fmla="*/ 86 h 176"/>
                <a:gd name="T88" fmla="*/ 154 w 182"/>
                <a:gd name="T89" fmla="*/ 66 h 176"/>
                <a:gd name="T90" fmla="*/ 140 w 182"/>
                <a:gd name="T91" fmla="*/ 50 h 176"/>
                <a:gd name="T92" fmla="*/ 126 w 182"/>
                <a:gd name="T93" fmla="*/ 36 h 176"/>
                <a:gd name="T94" fmla="*/ 118 w 182"/>
                <a:gd name="T95" fmla="*/ 32 h 176"/>
                <a:gd name="T96" fmla="*/ 110 w 182"/>
                <a:gd name="T97" fmla="*/ 30 h 176"/>
                <a:gd name="T98" fmla="*/ 102 w 182"/>
                <a:gd name="T99" fmla="*/ 28 h 176"/>
                <a:gd name="T100" fmla="*/ 94 w 182"/>
                <a:gd name="T101" fmla="*/ 26 h 176"/>
                <a:gd name="T102" fmla="*/ 94 w 182"/>
                <a:gd name="T103" fmla="*/ 26 h 17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2"/>
                <a:gd name="T157" fmla="*/ 0 h 176"/>
                <a:gd name="T158" fmla="*/ 182 w 182"/>
                <a:gd name="T159" fmla="*/ 176 h 17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2" h="176">
                  <a:moveTo>
                    <a:pt x="94" y="26"/>
                  </a:moveTo>
                  <a:lnTo>
                    <a:pt x="94" y="26"/>
                  </a:lnTo>
                  <a:lnTo>
                    <a:pt x="84" y="28"/>
                  </a:lnTo>
                  <a:lnTo>
                    <a:pt x="76" y="30"/>
                  </a:lnTo>
                  <a:lnTo>
                    <a:pt x="68" y="34"/>
                  </a:lnTo>
                  <a:lnTo>
                    <a:pt x="60" y="38"/>
                  </a:lnTo>
                  <a:lnTo>
                    <a:pt x="44" y="52"/>
                  </a:lnTo>
                  <a:lnTo>
                    <a:pt x="30" y="70"/>
                  </a:lnTo>
                  <a:lnTo>
                    <a:pt x="20" y="92"/>
                  </a:lnTo>
                  <a:lnTo>
                    <a:pt x="10" y="118"/>
                  </a:lnTo>
                  <a:lnTo>
                    <a:pt x="4" y="146"/>
                  </a:lnTo>
                  <a:lnTo>
                    <a:pt x="2" y="176"/>
                  </a:lnTo>
                  <a:lnTo>
                    <a:pt x="0" y="156"/>
                  </a:lnTo>
                  <a:lnTo>
                    <a:pt x="2" y="126"/>
                  </a:lnTo>
                  <a:lnTo>
                    <a:pt x="8" y="96"/>
                  </a:lnTo>
                  <a:lnTo>
                    <a:pt x="18" y="70"/>
                  </a:lnTo>
                  <a:lnTo>
                    <a:pt x="28" y="46"/>
                  </a:lnTo>
                  <a:lnTo>
                    <a:pt x="42" y="26"/>
                  </a:lnTo>
                  <a:lnTo>
                    <a:pt x="50" y="18"/>
                  </a:lnTo>
                  <a:lnTo>
                    <a:pt x="58" y="12"/>
                  </a:lnTo>
                  <a:lnTo>
                    <a:pt x="66" y="6"/>
                  </a:lnTo>
                  <a:lnTo>
                    <a:pt x="76" y="2"/>
                  </a:lnTo>
                  <a:lnTo>
                    <a:pt x="84" y="0"/>
                  </a:lnTo>
                  <a:lnTo>
                    <a:pt x="94" y="0"/>
                  </a:lnTo>
                  <a:lnTo>
                    <a:pt x="102" y="0"/>
                  </a:lnTo>
                  <a:lnTo>
                    <a:pt x="112" y="2"/>
                  </a:lnTo>
                  <a:lnTo>
                    <a:pt x="120" y="6"/>
                  </a:lnTo>
                  <a:lnTo>
                    <a:pt x="128" y="12"/>
                  </a:lnTo>
                  <a:lnTo>
                    <a:pt x="136" y="18"/>
                  </a:lnTo>
                  <a:lnTo>
                    <a:pt x="144" y="26"/>
                  </a:lnTo>
                  <a:lnTo>
                    <a:pt x="158" y="44"/>
                  </a:lnTo>
                  <a:lnTo>
                    <a:pt x="168" y="68"/>
                  </a:lnTo>
                  <a:lnTo>
                    <a:pt x="176" y="94"/>
                  </a:lnTo>
                  <a:lnTo>
                    <a:pt x="182" y="124"/>
                  </a:lnTo>
                  <a:lnTo>
                    <a:pt x="182" y="156"/>
                  </a:lnTo>
                  <a:lnTo>
                    <a:pt x="182" y="164"/>
                  </a:lnTo>
                  <a:lnTo>
                    <a:pt x="178" y="136"/>
                  </a:lnTo>
                  <a:lnTo>
                    <a:pt x="172" y="110"/>
                  </a:lnTo>
                  <a:lnTo>
                    <a:pt x="164" y="86"/>
                  </a:lnTo>
                  <a:lnTo>
                    <a:pt x="154" y="66"/>
                  </a:lnTo>
                  <a:lnTo>
                    <a:pt x="140" y="50"/>
                  </a:lnTo>
                  <a:lnTo>
                    <a:pt x="126" y="36"/>
                  </a:lnTo>
                  <a:lnTo>
                    <a:pt x="118" y="32"/>
                  </a:lnTo>
                  <a:lnTo>
                    <a:pt x="110" y="30"/>
                  </a:lnTo>
                  <a:lnTo>
                    <a:pt x="102" y="28"/>
                  </a:lnTo>
                  <a:lnTo>
                    <a:pt x="94" y="26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30"/>
            <p:cNvSpPr>
              <a:spLocks/>
            </p:cNvSpPr>
            <p:nvPr/>
          </p:nvSpPr>
          <p:spPr bwMode="auto">
            <a:xfrm>
              <a:off x="4316" y="2411"/>
              <a:ext cx="182" cy="108"/>
            </a:xfrm>
            <a:custGeom>
              <a:avLst/>
              <a:gdLst>
                <a:gd name="T0" fmla="*/ 0 w 182"/>
                <a:gd name="T1" fmla="*/ 108 h 108"/>
                <a:gd name="T2" fmla="*/ 0 w 182"/>
                <a:gd name="T3" fmla="*/ 108 h 108"/>
                <a:gd name="T4" fmla="*/ 6 w 182"/>
                <a:gd name="T5" fmla="*/ 98 h 108"/>
                <a:gd name="T6" fmla="*/ 18 w 182"/>
                <a:gd name="T7" fmla="*/ 76 h 108"/>
                <a:gd name="T8" fmla="*/ 28 w 182"/>
                <a:gd name="T9" fmla="*/ 60 h 108"/>
                <a:gd name="T10" fmla="*/ 38 w 182"/>
                <a:gd name="T11" fmla="*/ 46 h 108"/>
                <a:gd name="T12" fmla="*/ 52 w 182"/>
                <a:gd name="T13" fmla="*/ 32 h 108"/>
                <a:gd name="T14" fmla="*/ 66 w 182"/>
                <a:gd name="T15" fmla="*/ 18 h 108"/>
                <a:gd name="T16" fmla="*/ 66 w 182"/>
                <a:gd name="T17" fmla="*/ 18 h 108"/>
                <a:gd name="T18" fmla="*/ 80 w 182"/>
                <a:gd name="T19" fmla="*/ 10 h 108"/>
                <a:gd name="T20" fmla="*/ 94 w 182"/>
                <a:gd name="T21" fmla="*/ 4 h 108"/>
                <a:gd name="T22" fmla="*/ 108 w 182"/>
                <a:gd name="T23" fmla="*/ 0 h 108"/>
                <a:gd name="T24" fmla="*/ 122 w 182"/>
                <a:gd name="T25" fmla="*/ 0 h 108"/>
                <a:gd name="T26" fmla="*/ 134 w 182"/>
                <a:gd name="T27" fmla="*/ 2 h 108"/>
                <a:gd name="T28" fmla="*/ 146 w 182"/>
                <a:gd name="T29" fmla="*/ 6 h 108"/>
                <a:gd name="T30" fmla="*/ 156 w 182"/>
                <a:gd name="T31" fmla="*/ 10 h 108"/>
                <a:gd name="T32" fmla="*/ 164 w 182"/>
                <a:gd name="T33" fmla="*/ 16 h 108"/>
                <a:gd name="T34" fmla="*/ 172 w 182"/>
                <a:gd name="T35" fmla="*/ 22 h 108"/>
                <a:gd name="T36" fmla="*/ 178 w 182"/>
                <a:gd name="T37" fmla="*/ 30 h 108"/>
                <a:gd name="T38" fmla="*/ 180 w 182"/>
                <a:gd name="T39" fmla="*/ 36 h 108"/>
                <a:gd name="T40" fmla="*/ 182 w 182"/>
                <a:gd name="T41" fmla="*/ 42 h 108"/>
                <a:gd name="T42" fmla="*/ 180 w 182"/>
                <a:gd name="T43" fmla="*/ 48 h 108"/>
                <a:gd name="T44" fmla="*/ 176 w 182"/>
                <a:gd name="T45" fmla="*/ 52 h 108"/>
                <a:gd name="T46" fmla="*/ 168 w 182"/>
                <a:gd name="T47" fmla="*/ 56 h 108"/>
                <a:gd name="T48" fmla="*/ 158 w 182"/>
                <a:gd name="T49" fmla="*/ 56 h 108"/>
                <a:gd name="T50" fmla="*/ 158 w 182"/>
                <a:gd name="T51" fmla="*/ 56 h 108"/>
                <a:gd name="T52" fmla="*/ 144 w 182"/>
                <a:gd name="T53" fmla="*/ 52 h 108"/>
                <a:gd name="T54" fmla="*/ 132 w 182"/>
                <a:gd name="T55" fmla="*/ 46 h 108"/>
                <a:gd name="T56" fmla="*/ 114 w 182"/>
                <a:gd name="T57" fmla="*/ 34 h 108"/>
                <a:gd name="T58" fmla="*/ 106 w 182"/>
                <a:gd name="T59" fmla="*/ 30 h 108"/>
                <a:gd name="T60" fmla="*/ 96 w 182"/>
                <a:gd name="T61" fmla="*/ 28 h 108"/>
                <a:gd name="T62" fmla="*/ 84 w 182"/>
                <a:gd name="T63" fmla="*/ 32 h 108"/>
                <a:gd name="T64" fmla="*/ 70 w 182"/>
                <a:gd name="T65" fmla="*/ 40 h 108"/>
                <a:gd name="T66" fmla="*/ 70 w 182"/>
                <a:gd name="T67" fmla="*/ 40 h 108"/>
                <a:gd name="T68" fmla="*/ 54 w 182"/>
                <a:gd name="T69" fmla="*/ 50 h 108"/>
                <a:gd name="T70" fmla="*/ 40 w 182"/>
                <a:gd name="T71" fmla="*/ 62 h 108"/>
                <a:gd name="T72" fmla="*/ 28 w 182"/>
                <a:gd name="T73" fmla="*/ 74 h 108"/>
                <a:gd name="T74" fmla="*/ 18 w 182"/>
                <a:gd name="T75" fmla="*/ 84 h 108"/>
                <a:gd name="T76" fmla="*/ 4 w 182"/>
                <a:gd name="T77" fmla="*/ 102 h 108"/>
                <a:gd name="T78" fmla="*/ 0 w 182"/>
                <a:gd name="T79" fmla="*/ 108 h 108"/>
                <a:gd name="T80" fmla="*/ 0 w 182"/>
                <a:gd name="T81" fmla="*/ 108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2"/>
                <a:gd name="T124" fmla="*/ 0 h 108"/>
                <a:gd name="T125" fmla="*/ 182 w 182"/>
                <a:gd name="T126" fmla="*/ 108 h 1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2" h="108">
                  <a:moveTo>
                    <a:pt x="0" y="108"/>
                  </a:moveTo>
                  <a:lnTo>
                    <a:pt x="0" y="108"/>
                  </a:lnTo>
                  <a:lnTo>
                    <a:pt x="6" y="98"/>
                  </a:lnTo>
                  <a:lnTo>
                    <a:pt x="18" y="76"/>
                  </a:lnTo>
                  <a:lnTo>
                    <a:pt x="28" y="60"/>
                  </a:lnTo>
                  <a:lnTo>
                    <a:pt x="38" y="46"/>
                  </a:lnTo>
                  <a:lnTo>
                    <a:pt x="52" y="32"/>
                  </a:lnTo>
                  <a:lnTo>
                    <a:pt x="66" y="18"/>
                  </a:lnTo>
                  <a:lnTo>
                    <a:pt x="80" y="10"/>
                  </a:lnTo>
                  <a:lnTo>
                    <a:pt x="94" y="4"/>
                  </a:lnTo>
                  <a:lnTo>
                    <a:pt x="108" y="0"/>
                  </a:lnTo>
                  <a:lnTo>
                    <a:pt x="122" y="0"/>
                  </a:lnTo>
                  <a:lnTo>
                    <a:pt x="134" y="2"/>
                  </a:lnTo>
                  <a:lnTo>
                    <a:pt x="146" y="6"/>
                  </a:lnTo>
                  <a:lnTo>
                    <a:pt x="156" y="10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30"/>
                  </a:lnTo>
                  <a:lnTo>
                    <a:pt x="180" y="36"/>
                  </a:lnTo>
                  <a:lnTo>
                    <a:pt x="182" y="42"/>
                  </a:lnTo>
                  <a:lnTo>
                    <a:pt x="180" y="48"/>
                  </a:lnTo>
                  <a:lnTo>
                    <a:pt x="176" y="52"/>
                  </a:lnTo>
                  <a:lnTo>
                    <a:pt x="168" y="56"/>
                  </a:lnTo>
                  <a:lnTo>
                    <a:pt x="158" y="56"/>
                  </a:lnTo>
                  <a:lnTo>
                    <a:pt x="144" y="52"/>
                  </a:lnTo>
                  <a:lnTo>
                    <a:pt x="132" y="46"/>
                  </a:lnTo>
                  <a:lnTo>
                    <a:pt x="114" y="34"/>
                  </a:lnTo>
                  <a:lnTo>
                    <a:pt x="106" y="30"/>
                  </a:lnTo>
                  <a:lnTo>
                    <a:pt x="96" y="28"/>
                  </a:lnTo>
                  <a:lnTo>
                    <a:pt x="84" y="32"/>
                  </a:lnTo>
                  <a:lnTo>
                    <a:pt x="70" y="40"/>
                  </a:lnTo>
                  <a:lnTo>
                    <a:pt x="54" y="50"/>
                  </a:lnTo>
                  <a:lnTo>
                    <a:pt x="40" y="62"/>
                  </a:lnTo>
                  <a:lnTo>
                    <a:pt x="28" y="74"/>
                  </a:lnTo>
                  <a:lnTo>
                    <a:pt x="18" y="84"/>
                  </a:lnTo>
                  <a:lnTo>
                    <a:pt x="4" y="102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FA610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4288" y="2783"/>
              <a:ext cx="190" cy="48"/>
            </a:xfrm>
            <a:custGeom>
              <a:avLst/>
              <a:gdLst>
                <a:gd name="T0" fmla="*/ 190 w 190"/>
                <a:gd name="T1" fmla="*/ 34 h 48"/>
                <a:gd name="T2" fmla="*/ 190 w 190"/>
                <a:gd name="T3" fmla="*/ 34 h 48"/>
                <a:gd name="T4" fmla="*/ 184 w 190"/>
                <a:gd name="T5" fmla="*/ 30 h 48"/>
                <a:gd name="T6" fmla="*/ 172 w 190"/>
                <a:gd name="T7" fmla="*/ 22 h 48"/>
                <a:gd name="T8" fmla="*/ 152 w 190"/>
                <a:gd name="T9" fmla="*/ 12 h 48"/>
                <a:gd name="T10" fmla="*/ 128 w 190"/>
                <a:gd name="T11" fmla="*/ 4 h 48"/>
                <a:gd name="T12" fmla="*/ 114 w 190"/>
                <a:gd name="T13" fmla="*/ 2 h 48"/>
                <a:gd name="T14" fmla="*/ 98 w 190"/>
                <a:gd name="T15" fmla="*/ 0 h 48"/>
                <a:gd name="T16" fmla="*/ 82 w 190"/>
                <a:gd name="T17" fmla="*/ 2 h 48"/>
                <a:gd name="T18" fmla="*/ 66 w 190"/>
                <a:gd name="T19" fmla="*/ 4 h 48"/>
                <a:gd name="T20" fmla="*/ 50 w 190"/>
                <a:gd name="T21" fmla="*/ 10 h 48"/>
                <a:gd name="T22" fmla="*/ 34 w 190"/>
                <a:gd name="T23" fmla="*/ 20 h 48"/>
                <a:gd name="T24" fmla="*/ 16 w 190"/>
                <a:gd name="T25" fmla="*/ 32 h 48"/>
                <a:gd name="T26" fmla="*/ 0 w 190"/>
                <a:gd name="T27" fmla="*/ 48 h 48"/>
                <a:gd name="T28" fmla="*/ 0 w 190"/>
                <a:gd name="T29" fmla="*/ 48 h 48"/>
                <a:gd name="T30" fmla="*/ 12 w 190"/>
                <a:gd name="T31" fmla="*/ 38 h 48"/>
                <a:gd name="T32" fmla="*/ 26 w 190"/>
                <a:gd name="T33" fmla="*/ 30 h 48"/>
                <a:gd name="T34" fmla="*/ 48 w 190"/>
                <a:gd name="T35" fmla="*/ 20 h 48"/>
                <a:gd name="T36" fmla="*/ 60 w 190"/>
                <a:gd name="T37" fmla="*/ 18 h 48"/>
                <a:gd name="T38" fmla="*/ 74 w 190"/>
                <a:gd name="T39" fmla="*/ 14 h 48"/>
                <a:gd name="T40" fmla="*/ 90 w 190"/>
                <a:gd name="T41" fmla="*/ 14 h 48"/>
                <a:gd name="T42" fmla="*/ 106 w 190"/>
                <a:gd name="T43" fmla="*/ 12 h 48"/>
                <a:gd name="T44" fmla="*/ 126 w 190"/>
                <a:gd name="T45" fmla="*/ 14 h 48"/>
                <a:gd name="T46" fmla="*/ 144 w 190"/>
                <a:gd name="T47" fmla="*/ 18 h 48"/>
                <a:gd name="T48" fmla="*/ 166 w 190"/>
                <a:gd name="T49" fmla="*/ 24 h 48"/>
                <a:gd name="T50" fmla="*/ 190 w 190"/>
                <a:gd name="T51" fmla="*/ 34 h 48"/>
                <a:gd name="T52" fmla="*/ 190 w 190"/>
                <a:gd name="T53" fmla="*/ 34 h 4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0"/>
                <a:gd name="T82" fmla="*/ 0 h 48"/>
                <a:gd name="T83" fmla="*/ 190 w 190"/>
                <a:gd name="T84" fmla="*/ 48 h 4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0" h="48">
                  <a:moveTo>
                    <a:pt x="190" y="34"/>
                  </a:moveTo>
                  <a:lnTo>
                    <a:pt x="190" y="34"/>
                  </a:lnTo>
                  <a:lnTo>
                    <a:pt x="184" y="30"/>
                  </a:lnTo>
                  <a:lnTo>
                    <a:pt x="172" y="22"/>
                  </a:lnTo>
                  <a:lnTo>
                    <a:pt x="152" y="12"/>
                  </a:lnTo>
                  <a:lnTo>
                    <a:pt x="128" y="4"/>
                  </a:lnTo>
                  <a:lnTo>
                    <a:pt x="114" y="2"/>
                  </a:lnTo>
                  <a:lnTo>
                    <a:pt x="98" y="0"/>
                  </a:lnTo>
                  <a:lnTo>
                    <a:pt x="82" y="2"/>
                  </a:lnTo>
                  <a:lnTo>
                    <a:pt x="66" y="4"/>
                  </a:lnTo>
                  <a:lnTo>
                    <a:pt x="50" y="10"/>
                  </a:lnTo>
                  <a:lnTo>
                    <a:pt x="34" y="20"/>
                  </a:lnTo>
                  <a:lnTo>
                    <a:pt x="16" y="32"/>
                  </a:lnTo>
                  <a:lnTo>
                    <a:pt x="0" y="48"/>
                  </a:lnTo>
                  <a:lnTo>
                    <a:pt x="12" y="38"/>
                  </a:lnTo>
                  <a:lnTo>
                    <a:pt x="26" y="30"/>
                  </a:lnTo>
                  <a:lnTo>
                    <a:pt x="48" y="20"/>
                  </a:lnTo>
                  <a:lnTo>
                    <a:pt x="60" y="18"/>
                  </a:lnTo>
                  <a:lnTo>
                    <a:pt x="74" y="14"/>
                  </a:lnTo>
                  <a:lnTo>
                    <a:pt x="90" y="14"/>
                  </a:lnTo>
                  <a:lnTo>
                    <a:pt x="106" y="12"/>
                  </a:lnTo>
                  <a:lnTo>
                    <a:pt x="126" y="14"/>
                  </a:lnTo>
                  <a:lnTo>
                    <a:pt x="144" y="18"/>
                  </a:lnTo>
                  <a:lnTo>
                    <a:pt x="166" y="24"/>
                  </a:lnTo>
                  <a:lnTo>
                    <a:pt x="190" y="34"/>
                  </a:lnTo>
                  <a:close/>
                </a:path>
              </a:pathLst>
            </a:custGeom>
            <a:solidFill>
              <a:srgbClr val="FFA6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4360" y="2615"/>
              <a:ext cx="104" cy="140"/>
            </a:xfrm>
            <a:custGeom>
              <a:avLst/>
              <a:gdLst>
                <a:gd name="T0" fmla="*/ 104 w 104"/>
                <a:gd name="T1" fmla="*/ 68 h 140"/>
                <a:gd name="T2" fmla="*/ 104 w 104"/>
                <a:gd name="T3" fmla="*/ 68 h 140"/>
                <a:gd name="T4" fmla="*/ 104 w 104"/>
                <a:gd name="T5" fmla="*/ 82 h 140"/>
                <a:gd name="T6" fmla="*/ 102 w 104"/>
                <a:gd name="T7" fmla="*/ 94 h 140"/>
                <a:gd name="T8" fmla="*/ 98 w 104"/>
                <a:gd name="T9" fmla="*/ 108 h 140"/>
                <a:gd name="T10" fmla="*/ 92 w 104"/>
                <a:gd name="T11" fmla="*/ 118 h 140"/>
                <a:gd name="T12" fmla="*/ 84 w 104"/>
                <a:gd name="T13" fmla="*/ 126 h 140"/>
                <a:gd name="T14" fmla="*/ 76 w 104"/>
                <a:gd name="T15" fmla="*/ 134 h 140"/>
                <a:gd name="T16" fmla="*/ 66 w 104"/>
                <a:gd name="T17" fmla="*/ 138 h 140"/>
                <a:gd name="T18" fmla="*/ 56 w 104"/>
                <a:gd name="T19" fmla="*/ 140 h 140"/>
                <a:gd name="T20" fmla="*/ 56 w 104"/>
                <a:gd name="T21" fmla="*/ 140 h 140"/>
                <a:gd name="T22" fmla="*/ 46 w 104"/>
                <a:gd name="T23" fmla="*/ 140 h 140"/>
                <a:gd name="T24" fmla="*/ 36 w 104"/>
                <a:gd name="T25" fmla="*/ 136 h 140"/>
                <a:gd name="T26" fmla="*/ 26 w 104"/>
                <a:gd name="T27" fmla="*/ 130 h 140"/>
                <a:gd name="T28" fmla="*/ 18 w 104"/>
                <a:gd name="T29" fmla="*/ 122 h 140"/>
                <a:gd name="T30" fmla="*/ 10 w 104"/>
                <a:gd name="T31" fmla="*/ 112 h 140"/>
                <a:gd name="T32" fmla="*/ 6 w 104"/>
                <a:gd name="T33" fmla="*/ 100 h 140"/>
                <a:gd name="T34" fmla="*/ 2 w 104"/>
                <a:gd name="T35" fmla="*/ 86 h 140"/>
                <a:gd name="T36" fmla="*/ 0 w 104"/>
                <a:gd name="T37" fmla="*/ 72 h 140"/>
                <a:gd name="T38" fmla="*/ 0 w 104"/>
                <a:gd name="T39" fmla="*/ 72 h 140"/>
                <a:gd name="T40" fmla="*/ 0 w 104"/>
                <a:gd name="T41" fmla="*/ 58 h 140"/>
                <a:gd name="T42" fmla="*/ 2 w 104"/>
                <a:gd name="T43" fmla="*/ 46 h 140"/>
                <a:gd name="T44" fmla="*/ 6 w 104"/>
                <a:gd name="T45" fmla="*/ 34 h 140"/>
                <a:gd name="T46" fmla="*/ 12 w 104"/>
                <a:gd name="T47" fmla="*/ 22 h 140"/>
                <a:gd name="T48" fmla="*/ 20 w 104"/>
                <a:gd name="T49" fmla="*/ 14 h 140"/>
                <a:gd name="T50" fmla="*/ 28 w 104"/>
                <a:gd name="T51" fmla="*/ 6 h 140"/>
                <a:gd name="T52" fmla="*/ 38 w 104"/>
                <a:gd name="T53" fmla="*/ 2 h 140"/>
                <a:gd name="T54" fmla="*/ 48 w 104"/>
                <a:gd name="T55" fmla="*/ 0 h 140"/>
                <a:gd name="T56" fmla="*/ 48 w 104"/>
                <a:gd name="T57" fmla="*/ 0 h 140"/>
                <a:gd name="T58" fmla="*/ 58 w 104"/>
                <a:gd name="T59" fmla="*/ 2 h 140"/>
                <a:gd name="T60" fmla="*/ 68 w 104"/>
                <a:gd name="T61" fmla="*/ 4 h 140"/>
                <a:gd name="T62" fmla="*/ 78 w 104"/>
                <a:gd name="T63" fmla="*/ 10 h 140"/>
                <a:gd name="T64" fmla="*/ 86 w 104"/>
                <a:gd name="T65" fmla="*/ 18 h 140"/>
                <a:gd name="T66" fmla="*/ 94 w 104"/>
                <a:gd name="T67" fmla="*/ 28 h 140"/>
                <a:gd name="T68" fmla="*/ 98 w 104"/>
                <a:gd name="T69" fmla="*/ 40 h 140"/>
                <a:gd name="T70" fmla="*/ 102 w 104"/>
                <a:gd name="T71" fmla="*/ 54 h 140"/>
                <a:gd name="T72" fmla="*/ 104 w 104"/>
                <a:gd name="T73" fmla="*/ 68 h 140"/>
                <a:gd name="T74" fmla="*/ 104 w 104"/>
                <a:gd name="T75" fmla="*/ 68 h 14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4"/>
                <a:gd name="T115" fmla="*/ 0 h 140"/>
                <a:gd name="T116" fmla="*/ 104 w 104"/>
                <a:gd name="T117" fmla="*/ 140 h 14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4" h="140">
                  <a:moveTo>
                    <a:pt x="104" y="68"/>
                  </a:moveTo>
                  <a:lnTo>
                    <a:pt x="104" y="68"/>
                  </a:lnTo>
                  <a:lnTo>
                    <a:pt x="104" y="82"/>
                  </a:lnTo>
                  <a:lnTo>
                    <a:pt x="102" y="94"/>
                  </a:lnTo>
                  <a:lnTo>
                    <a:pt x="98" y="108"/>
                  </a:lnTo>
                  <a:lnTo>
                    <a:pt x="92" y="118"/>
                  </a:lnTo>
                  <a:lnTo>
                    <a:pt x="84" y="126"/>
                  </a:lnTo>
                  <a:lnTo>
                    <a:pt x="76" y="134"/>
                  </a:lnTo>
                  <a:lnTo>
                    <a:pt x="66" y="138"/>
                  </a:lnTo>
                  <a:lnTo>
                    <a:pt x="56" y="140"/>
                  </a:lnTo>
                  <a:lnTo>
                    <a:pt x="46" y="140"/>
                  </a:lnTo>
                  <a:lnTo>
                    <a:pt x="36" y="136"/>
                  </a:lnTo>
                  <a:lnTo>
                    <a:pt x="26" y="130"/>
                  </a:lnTo>
                  <a:lnTo>
                    <a:pt x="18" y="122"/>
                  </a:lnTo>
                  <a:lnTo>
                    <a:pt x="10" y="112"/>
                  </a:lnTo>
                  <a:lnTo>
                    <a:pt x="6" y="100"/>
                  </a:lnTo>
                  <a:lnTo>
                    <a:pt x="2" y="86"/>
                  </a:lnTo>
                  <a:lnTo>
                    <a:pt x="0" y="72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6" y="34"/>
                  </a:lnTo>
                  <a:lnTo>
                    <a:pt x="12" y="22"/>
                  </a:lnTo>
                  <a:lnTo>
                    <a:pt x="20" y="14"/>
                  </a:lnTo>
                  <a:lnTo>
                    <a:pt x="28" y="6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8" y="10"/>
                  </a:lnTo>
                  <a:lnTo>
                    <a:pt x="86" y="18"/>
                  </a:lnTo>
                  <a:lnTo>
                    <a:pt x="94" y="28"/>
                  </a:lnTo>
                  <a:lnTo>
                    <a:pt x="98" y="40"/>
                  </a:lnTo>
                  <a:lnTo>
                    <a:pt x="102" y="54"/>
                  </a:lnTo>
                  <a:lnTo>
                    <a:pt x="104" y="68"/>
                  </a:lnTo>
                  <a:close/>
                </a:path>
              </a:pathLst>
            </a:custGeom>
            <a:solidFill>
              <a:srgbClr val="203E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4370" y="2629"/>
              <a:ext cx="84" cy="112"/>
            </a:xfrm>
            <a:custGeom>
              <a:avLst/>
              <a:gdLst>
                <a:gd name="T0" fmla="*/ 84 w 84"/>
                <a:gd name="T1" fmla="*/ 54 h 112"/>
                <a:gd name="T2" fmla="*/ 84 w 84"/>
                <a:gd name="T3" fmla="*/ 54 h 112"/>
                <a:gd name="T4" fmla="*/ 84 w 84"/>
                <a:gd name="T5" fmla="*/ 66 h 112"/>
                <a:gd name="T6" fmla="*/ 82 w 84"/>
                <a:gd name="T7" fmla="*/ 76 h 112"/>
                <a:gd name="T8" fmla="*/ 78 w 84"/>
                <a:gd name="T9" fmla="*/ 86 h 112"/>
                <a:gd name="T10" fmla="*/ 74 w 84"/>
                <a:gd name="T11" fmla="*/ 94 h 112"/>
                <a:gd name="T12" fmla="*/ 68 w 84"/>
                <a:gd name="T13" fmla="*/ 102 h 112"/>
                <a:gd name="T14" fmla="*/ 60 w 84"/>
                <a:gd name="T15" fmla="*/ 106 h 112"/>
                <a:gd name="T16" fmla="*/ 54 w 84"/>
                <a:gd name="T17" fmla="*/ 110 h 112"/>
                <a:gd name="T18" fmla="*/ 44 w 84"/>
                <a:gd name="T19" fmla="*/ 112 h 112"/>
                <a:gd name="T20" fmla="*/ 44 w 84"/>
                <a:gd name="T21" fmla="*/ 112 h 112"/>
                <a:gd name="T22" fmla="*/ 36 w 84"/>
                <a:gd name="T23" fmla="*/ 112 h 112"/>
                <a:gd name="T24" fmla="*/ 28 w 84"/>
                <a:gd name="T25" fmla="*/ 108 h 112"/>
                <a:gd name="T26" fmla="*/ 22 w 84"/>
                <a:gd name="T27" fmla="*/ 104 h 112"/>
                <a:gd name="T28" fmla="*/ 14 w 84"/>
                <a:gd name="T29" fmla="*/ 98 h 112"/>
                <a:gd name="T30" fmla="*/ 10 w 84"/>
                <a:gd name="T31" fmla="*/ 90 h 112"/>
                <a:gd name="T32" fmla="*/ 4 w 84"/>
                <a:gd name="T33" fmla="*/ 80 h 112"/>
                <a:gd name="T34" fmla="*/ 2 w 84"/>
                <a:gd name="T35" fmla="*/ 70 h 112"/>
                <a:gd name="T36" fmla="*/ 0 w 84"/>
                <a:gd name="T37" fmla="*/ 58 h 112"/>
                <a:gd name="T38" fmla="*/ 0 w 84"/>
                <a:gd name="T39" fmla="*/ 58 h 112"/>
                <a:gd name="T40" fmla="*/ 0 w 84"/>
                <a:gd name="T41" fmla="*/ 48 h 112"/>
                <a:gd name="T42" fmla="*/ 2 w 84"/>
                <a:gd name="T43" fmla="*/ 36 h 112"/>
                <a:gd name="T44" fmla="*/ 6 w 84"/>
                <a:gd name="T45" fmla="*/ 26 h 112"/>
                <a:gd name="T46" fmla="*/ 10 w 84"/>
                <a:gd name="T47" fmla="*/ 18 h 112"/>
                <a:gd name="T48" fmla="*/ 16 w 84"/>
                <a:gd name="T49" fmla="*/ 12 h 112"/>
                <a:gd name="T50" fmla="*/ 24 w 84"/>
                <a:gd name="T51" fmla="*/ 6 h 112"/>
                <a:gd name="T52" fmla="*/ 30 w 84"/>
                <a:gd name="T53" fmla="*/ 2 h 112"/>
                <a:gd name="T54" fmla="*/ 40 w 84"/>
                <a:gd name="T55" fmla="*/ 0 h 112"/>
                <a:gd name="T56" fmla="*/ 40 w 84"/>
                <a:gd name="T57" fmla="*/ 0 h 112"/>
                <a:gd name="T58" fmla="*/ 48 w 84"/>
                <a:gd name="T59" fmla="*/ 2 h 112"/>
                <a:gd name="T60" fmla="*/ 56 w 84"/>
                <a:gd name="T61" fmla="*/ 4 h 112"/>
                <a:gd name="T62" fmla="*/ 62 w 84"/>
                <a:gd name="T63" fmla="*/ 8 h 112"/>
                <a:gd name="T64" fmla="*/ 70 w 84"/>
                <a:gd name="T65" fmla="*/ 16 h 112"/>
                <a:gd name="T66" fmla="*/ 74 w 84"/>
                <a:gd name="T67" fmla="*/ 24 h 112"/>
                <a:gd name="T68" fmla="*/ 80 w 84"/>
                <a:gd name="T69" fmla="*/ 32 h 112"/>
                <a:gd name="T70" fmla="*/ 82 w 84"/>
                <a:gd name="T71" fmla="*/ 42 h 112"/>
                <a:gd name="T72" fmla="*/ 84 w 84"/>
                <a:gd name="T73" fmla="*/ 54 h 112"/>
                <a:gd name="T74" fmla="*/ 84 w 84"/>
                <a:gd name="T75" fmla="*/ 54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4"/>
                <a:gd name="T115" fmla="*/ 0 h 112"/>
                <a:gd name="T116" fmla="*/ 84 w 84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4" h="112">
                  <a:moveTo>
                    <a:pt x="84" y="54"/>
                  </a:moveTo>
                  <a:lnTo>
                    <a:pt x="84" y="54"/>
                  </a:lnTo>
                  <a:lnTo>
                    <a:pt x="84" y="66"/>
                  </a:lnTo>
                  <a:lnTo>
                    <a:pt x="82" y="76"/>
                  </a:lnTo>
                  <a:lnTo>
                    <a:pt x="78" y="86"/>
                  </a:lnTo>
                  <a:lnTo>
                    <a:pt x="74" y="94"/>
                  </a:lnTo>
                  <a:lnTo>
                    <a:pt x="68" y="102"/>
                  </a:lnTo>
                  <a:lnTo>
                    <a:pt x="60" y="106"/>
                  </a:lnTo>
                  <a:lnTo>
                    <a:pt x="54" y="110"/>
                  </a:lnTo>
                  <a:lnTo>
                    <a:pt x="44" y="112"/>
                  </a:lnTo>
                  <a:lnTo>
                    <a:pt x="36" y="112"/>
                  </a:lnTo>
                  <a:lnTo>
                    <a:pt x="28" y="108"/>
                  </a:lnTo>
                  <a:lnTo>
                    <a:pt x="22" y="104"/>
                  </a:lnTo>
                  <a:lnTo>
                    <a:pt x="14" y="98"/>
                  </a:lnTo>
                  <a:lnTo>
                    <a:pt x="10" y="90"/>
                  </a:lnTo>
                  <a:lnTo>
                    <a:pt x="4" y="80"/>
                  </a:lnTo>
                  <a:lnTo>
                    <a:pt x="2" y="70"/>
                  </a:lnTo>
                  <a:lnTo>
                    <a:pt x="0" y="58"/>
                  </a:lnTo>
                  <a:lnTo>
                    <a:pt x="0" y="48"/>
                  </a:lnTo>
                  <a:lnTo>
                    <a:pt x="2" y="36"/>
                  </a:lnTo>
                  <a:lnTo>
                    <a:pt x="6" y="26"/>
                  </a:lnTo>
                  <a:lnTo>
                    <a:pt x="10" y="18"/>
                  </a:lnTo>
                  <a:lnTo>
                    <a:pt x="16" y="12"/>
                  </a:lnTo>
                  <a:lnTo>
                    <a:pt x="24" y="6"/>
                  </a:lnTo>
                  <a:lnTo>
                    <a:pt x="30" y="2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56" y="4"/>
                  </a:lnTo>
                  <a:lnTo>
                    <a:pt x="62" y="8"/>
                  </a:lnTo>
                  <a:lnTo>
                    <a:pt x="70" y="16"/>
                  </a:lnTo>
                  <a:lnTo>
                    <a:pt x="74" y="24"/>
                  </a:lnTo>
                  <a:lnTo>
                    <a:pt x="80" y="32"/>
                  </a:lnTo>
                  <a:lnTo>
                    <a:pt x="82" y="42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3261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4384" y="2653"/>
              <a:ext cx="56" cy="70"/>
            </a:xfrm>
            <a:custGeom>
              <a:avLst/>
              <a:gdLst>
                <a:gd name="T0" fmla="*/ 56 w 56"/>
                <a:gd name="T1" fmla="*/ 34 h 70"/>
                <a:gd name="T2" fmla="*/ 56 w 56"/>
                <a:gd name="T3" fmla="*/ 34 h 70"/>
                <a:gd name="T4" fmla="*/ 54 w 56"/>
                <a:gd name="T5" fmla="*/ 46 h 70"/>
                <a:gd name="T6" fmla="*/ 48 w 56"/>
                <a:gd name="T7" fmla="*/ 58 h 70"/>
                <a:gd name="T8" fmla="*/ 40 w 56"/>
                <a:gd name="T9" fmla="*/ 66 h 70"/>
                <a:gd name="T10" fmla="*/ 36 w 56"/>
                <a:gd name="T11" fmla="*/ 68 h 70"/>
                <a:gd name="T12" fmla="*/ 30 w 56"/>
                <a:gd name="T13" fmla="*/ 70 h 70"/>
                <a:gd name="T14" fmla="*/ 30 w 56"/>
                <a:gd name="T15" fmla="*/ 70 h 70"/>
                <a:gd name="T16" fmla="*/ 24 w 56"/>
                <a:gd name="T17" fmla="*/ 68 h 70"/>
                <a:gd name="T18" fmla="*/ 20 w 56"/>
                <a:gd name="T19" fmla="*/ 66 h 70"/>
                <a:gd name="T20" fmla="*/ 10 w 56"/>
                <a:gd name="T21" fmla="*/ 60 h 70"/>
                <a:gd name="T22" fmla="*/ 4 w 56"/>
                <a:gd name="T23" fmla="*/ 50 h 70"/>
                <a:gd name="T24" fmla="*/ 0 w 56"/>
                <a:gd name="T25" fmla="*/ 36 h 70"/>
                <a:gd name="T26" fmla="*/ 0 w 56"/>
                <a:gd name="T27" fmla="*/ 36 h 70"/>
                <a:gd name="T28" fmla="*/ 2 w 56"/>
                <a:gd name="T29" fmla="*/ 22 h 70"/>
                <a:gd name="T30" fmla="*/ 8 w 56"/>
                <a:gd name="T31" fmla="*/ 12 h 70"/>
                <a:gd name="T32" fmla="*/ 16 w 56"/>
                <a:gd name="T33" fmla="*/ 4 h 70"/>
                <a:gd name="T34" fmla="*/ 20 w 56"/>
                <a:gd name="T35" fmla="*/ 0 h 70"/>
                <a:gd name="T36" fmla="*/ 26 w 56"/>
                <a:gd name="T37" fmla="*/ 0 h 70"/>
                <a:gd name="T38" fmla="*/ 26 w 56"/>
                <a:gd name="T39" fmla="*/ 0 h 70"/>
                <a:gd name="T40" fmla="*/ 32 w 56"/>
                <a:gd name="T41" fmla="*/ 0 h 70"/>
                <a:gd name="T42" fmla="*/ 36 w 56"/>
                <a:gd name="T43" fmla="*/ 2 h 70"/>
                <a:gd name="T44" fmla="*/ 46 w 56"/>
                <a:gd name="T45" fmla="*/ 10 h 70"/>
                <a:gd name="T46" fmla="*/ 52 w 56"/>
                <a:gd name="T47" fmla="*/ 20 h 70"/>
                <a:gd name="T48" fmla="*/ 56 w 56"/>
                <a:gd name="T49" fmla="*/ 34 h 70"/>
                <a:gd name="T50" fmla="*/ 56 w 56"/>
                <a:gd name="T51" fmla="*/ 34 h 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6"/>
                <a:gd name="T79" fmla="*/ 0 h 70"/>
                <a:gd name="T80" fmla="*/ 56 w 56"/>
                <a:gd name="T81" fmla="*/ 70 h 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6" h="70">
                  <a:moveTo>
                    <a:pt x="56" y="34"/>
                  </a:moveTo>
                  <a:lnTo>
                    <a:pt x="56" y="34"/>
                  </a:lnTo>
                  <a:lnTo>
                    <a:pt x="54" y="46"/>
                  </a:lnTo>
                  <a:lnTo>
                    <a:pt x="48" y="58"/>
                  </a:lnTo>
                  <a:lnTo>
                    <a:pt x="40" y="66"/>
                  </a:lnTo>
                  <a:lnTo>
                    <a:pt x="36" y="68"/>
                  </a:lnTo>
                  <a:lnTo>
                    <a:pt x="30" y="70"/>
                  </a:lnTo>
                  <a:lnTo>
                    <a:pt x="24" y="68"/>
                  </a:lnTo>
                  <a:lnTo>
                    <a:pt x="20" y="66"/>
                  </a:lnTo>
                  <a:lnTo>
                    <a:pt x="10" y="60"/>
                  </a:lnTo>
                  <a:lnTo>
                    <a:pt x="4" y="50"/>
                  </a:lnTo>
                  <a:lnTo>
                    <a:pt x="0" y="36"/>
                  </a:lnTo>
                  <a:lnTo>
                    <a:pt x="2" y="22"/>
                  </a:lnTo>
                  <a:lnTo>
                    <a:pt x="8" y="12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2"/>
                  </a:lnTo>
                  <a:lnTo>
                    <a:pt x="46" y="10"/>
                  </a:lnTo>
                  <a:lnTo>
                    <a:pt x="52" y="20"/>
                  </a:lnTo>
                  <a:lnTo>
                    <a:pt x="56" y="3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4388" y="2651"/>
              <a:ext cx="20" cy="26"/>
            </a:xfrm>
            <a:custGeom>
              <a:avLst/>
              <a:gdLst>
                <a:gd name="T0" fmla="*/ 20 w 20"/>
                <a:gd name="T1" fmla="*/ 12 h 26"/>
                <a:gd name="T2" fmla="*/ 20 w 20"/>
                <a:gd name="T3" fmla="*/ 12 h 26"/>
                <a:gd name="T4" fmla="*/ 20 w 20"/>
                <a:gd name="T5" fmla="*/ 16 h 26"/>
                <a:gd name="T6" fmla="*/ 18 w 20"/>
                <a:gd name="T7" fmla="*/ 22 h 26"/>
                <a:gd name="T8" fmla="*/ 16 w 20"/>
                <a:gd name="T9" fmla="*/ 26 h 26"/>
                <a:gd name="T10" fmla="*/ 12 w 20"/>
                <a:gd name="T11" fmla="*/ 26 h 26"/>
                <a:gd name="T12" fmla="*/ 12 w 20"/>
                <a:gd name="T13" fmla="*/ 26 h 26"/>
                <a:gd name="T14" fmla="*/ 8 w 20"/>
                <a:gd name="T15" fmla="*/ 26 h 26"/>
                <a:gd name="T16" fmla="*/ 4 w 20"/>
                <a:gd name="T17" fmla="*/ 24 h 26"/>
                <a:gd name="T18" fmla="*/ 2 w 20"/>
                <a:gd name="T19" fmla="*/ 20 h 26"/>
                <a:gd name="T20" fmla="*/ 0 w 20"/>
                <a:gd name="T21" fmla="*/ 16 h 26"/>
                <a:gd name="T22" fmla="*/ 0 w 20"/>
                <a:gd name="T23" fmla="*/ 16 h 26"/>
                <a:gd name="T24" fmla="*/ 0 w 20"/>
                <a:gd name="T25" fmla="*/ 10 h 26"/>
                <a:gd name="T26" fmla="*/ 0 w 20"/>
                <a:gd name="T27" fmla="*/ 6 h 26"/>
                <a:gd name="T28" fmla="*/ 4 w 20"/>
                <a:gd name="T29" fmla="*/ 2 h 26"/>
                <a:gd name="T30" fmla="*/ 8 w 20"/>
                <a:gd name="T31" fmla="*/ 0 h 26"/>
                <a:gd name="T32" fmla="*/ 8 w 20"/>
                <a:gd name="T33" fmla="*/ 0 h 26"/>
                <a:gd name="T34" fmla="*/ 12 w 20"/>
                <a:gd name="T35" fmla="*/ 0 h 26"/>
                <a:gd name="T36" fmla="*/ 16 w 20"/>
                <a:gd name="T37" fmla="*/ 2 h 26"/>
                <a:gd name="T38" fmla="*/ 18 w 20"/>
                <a:gd name="T39" fmla="*/ 6 h 26"/>
                <a:gd name="T40" fmla="*/ 20 w 20"/>
                <a:gd name="T41" fmla="*/ 12 h 26"/>
                <a:gd name="T42" fmla="*/ 20 w 20"/>
                <a:gd name="T43" fmla="*/ 12 h 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"/>
                <a:gd name="T67" fmla="*/ 0 h 26"/>
                <a:gd name="T68" fmla="*/ 20 w 20"/>
                <a:gd name="T69" fmla="*/ 26 h 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" h="26">
                  <a:moveTo>
                    <a:pt x="20" y="12"/>
                  </a:moveTo>
                  <a:lnTo>
                    <a:pt x="20" y="12"/>
                  </a:lnTo>
                  <a:lnTo>
                    <a:pt x="20" y="16"/>
                  </a:lnTo>
                  <a:lnTo>
                    <a:pt x="18" y="22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18" y="6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4426" y="2699"/>
              <a:ext cx="12" cy="12"/>
            </a:xfrm>
            <a:custGeom>
              <a:avLst/>
              <a:gdLst>
                <a:gd name="T0" fmla="*/ 4 w 12"/>
                <a:gd name="T1" fmla="*/ 0 h 12"/>
                <a:gd name="T2" fmla="*/ 4 w 12"/>
                <a:gd name="T3" fmla="*/ 0 h 12"/>
                <a:gd name="T4" fmla="*/ 10 w 12"/>
                <a:gd name="T5" fmla="*/ 0 h 12"/>
                <a:gd name="T6" fmla="*/ 12 w 12"/>
                <a:gd name="T7" fmla="*/ 4 h 12"/>
                <a:gd name="T8" fmla="*/ 12 w 12"/>
                <a:gd name="T9" fmla="*/ 4 h 12"/>
                <a:gd name="T10" fmla="*/ 12 w 12"/>
                <a:gd name="T11" fmla="*/ 8 h 12"/>
                <a:gd name="T12" fmla="*/ 8 w 12"/>
                <a:gd name="T13" fmla="*/ 12 h 12"/>
                <a:gd name="T14" fmla="*/ 8 w 12"/>
                <a:gd name="T15" fmla="*/ 12 h 12"/>
                <a:gd name="T16" fmla="*/ 4 w 12"/>
                <a:gd name="T17" fmla="*/ 12 h 12"/>
                <a:gd name="T18" fmla="*/ 0 w 12"/>
                <a:gd name="T19" fmla="*/ 8 h 12"/>
                <a:gd name="T20" fmla="*/ 0 w 12"/>
                <a:gd name="T21" fmla="*/ 8 h 12"/>
                <a:gd name="T22" fmla="*/ 0 w 12"/>
                <a:gd name="T23" fmla="*/ 2 h 12"/>
                <a:gd name="T24" fmla="*/ 4 w 12"/>
                <a:gd name="T25" fmla="*/ 0 h 12"/>
                <a:gd name="T26" fmla="*/ 4 w 12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2"/>
                <a:gd name="T44" fmla="*/ 12 w 12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2">
                  <a:moveTo>
                    <a:pt x="4" y="0"/>
                  </a:moveTo>
                  <a:lnTo>
                    <a:pt x="4" y="0"/>
                  </a:lnTo>
                  <a:lnTo>
                    <a:pt x="10" y="0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4416" y="3185"/>
              <a:ext cx="106" cy="38"/>
            </a:xfrm>
            <a:custGeom>
              <a:avLst/>
              <a:gdLst>
                <a:gd name="T0" fmla="*/ 0 w 106"/>
                <a:gd name="T1" fmla="*/ 0 h 38"/>
                <a:gd name="T2" fmla="*/ 0 w 106"/>
                <a:gd name="T3" fmla="*/ 0 h 38"/>
                <a:gd name="T4" fmla="*/ 2 w 106"/>
                <a:gd name="T5" fmla="*/ 6 h 38"/>
                <a:gd name="T6" fmla="*/ 12 w 106"/>
                <a:gd name="T7" fmla="*/ 18 h 38"/>
                <a:gd name="T8" fmla="*/ 20 w 106"/>
                <a:gd name="T9" fmla="*/ 24 h 38"/>
                <a:gd name="T10" fmla="*/ 28 w 106"/>
                <a:gd name="T11" fmla="*/ 30 h 38"/>
                <a:gd name="T12" fmla="*/ 38 w 106"/>
                <a:gd name="T13" fmla="*/ 36 h 38"/>
                <a:gd name="T14" fmla="*/ 48 w 106"/>
                <a:gd name="T15" fmla="*/ 38 h 38"/>
                <a:gd name="T16" fmla="*/ 48 w 106"/>
                <a:gd name="T17" fmla="*/ 38 h 38"/>
                <a:gd name="T18" fmla="*/ 56 w 106"/>
                <a:gd name="T19" fmla="*/ 38 h 38"/>
                <a:gd name="T20" fmla="*/ 64 w 106"/>
                <a:gd name="T21" fmla="*/ 38 h 38"/>
                <a:gd name="T22" fmla="*/ 82 w 106"/>
                <a:gd name="T23" fmla="*/ 32 h 38"/>
                <a:gd name="T24" fmla="*/ 98 w 106"/>
                <a:gd name="T25" fmla="*/ 26 h 38"/>
                <a:gd name="T26" fmla="*/ 106 w 106"/>
                <a:gd name="T27" fmla="*/ 20 h 38"/>
                <a:gd name="T28" fmla="*/ 106 w 106"/>
                <a:gd name="T29" fmla="*/ 20 h 38"/>
                <a:gd name="T30" fmla="*/ 90 w 106"/>
                <a:gd name="T31" fmla="*/ 22 h 38"/>
                <a:gd name="T32" fmla="*/ 72 w 106"/>
                <a:gd name="T33" fmla="*/ 22 h 38"/>
                <a:gd name="T34" fmla="*/ 50 w 106"/>
                <a:gd name="T35" fmla="*/ 20 h 38"/>
                <a:gd name="T36" fmla="*/ 50 w 106"/>
                <a:gd name="T37" fmla="*/ 20 h 38"/>
                <a:gd name="T38" fmla="*/ 28 w 106"/>
                <a:gd name="T39" fmla="*/ 14 h 38"/>
                <a:gd name="T40" fmla="*/ 12 w 106"/>
                <a:gd name="T41" fmla="*/ 8 h 38"/>
                <a:gd name="T42" fmla="*/ 0 w 106"/>
                <a:gd name="T43" fmla="*/ 0 h 38"/>
                <a:gd name="T44" fmla="*/ 0 w 106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6"/>
                <a:gd name="T70" fmla="*/ 0 h 38"/>
                <a:gd name="T71" fmla="*/ 106 w 106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6" h="38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12" y="18"/>
                  </a:lnTo>
                  <a:lnTo>
                    <a:pt x="20" y="24"/>
                  </a:lnTo>
                  <a:lnTo>
                    <a:pt x="28" y="30"/>
                  </a:lnTo>
                  <a:lnTo>
                    <a:pt x="38" y="36"/>
                  </a:lnTo>
                  <a:lnTo>
                    <a:pt x="48" y="38"/>
                  </a:lnTo>
                  <a:lnTo>
                    <a:pt x="56" y="38"/>
                  </a:lnTo>
                  <a:lnTo>
                    <a:pt x="64" y="38"/>
                  </a:lnTo>
                  <a:lnTo>
                    <a:pt x="82" y="32"/>
                  </a:lnTo>
                  <a:lnTo>
                    <a:pt x="98" y="26"/>
                  </a:lnTo>
                  <a:lnTo>
                    <a:pt x="106" y="20"/>
                  </a:lnTo>
                  <a:lnTo>
                    <a:pt x="90" y="22"/>
                  </a:lnTo>
                  <a:lnTo>
                    <a:pt x="72" y="22"/>
                  </a:lnTo>
                  <a:lnTo>
                    <a:pt x="50" y="20"/>
                  </a:lnTo>
                  <a:lnTo>
                    <a:pt x="28" y="14"/>
                  </a:lnTo>
                  <a:lnTo>
                    <a:pt x="12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A6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4322" y="2865"/>
              <a:ext cx="382" cy="320"/>
            </a:xfrm>
            <a:custGeom>
              <a:avLst/>
              <a:gdLst>
                <a:gd name="T0" fmla="*/ 2 w 382"/>
                <a:gd name="T1" fmla="*/ 0 h 320"/>
                <a:gd name="T2" fmla="*/ 2 w 382"/>
                <a:gd name="T3" fmla="*/ 0 h 320"/>
                <a:gd name="T4" fmla="*/ 14 w 382"/>
                <a:gd name="T5" fmla="*/ 14 h 320"/>
                <a:gd name="T6" fmla="*/ 30 w 382"/>
                <a:gd name="T7" fmla="*/ 26 h 320"/>
                <a:gd name="T8" fmla="*/ 48 w 382"/>
                <a:gd name="T9" fmla="*/ 40 h 320"/>
                <a:gd name="T10" fmla="*/ 70 w 382"/>
                <a:gd name="T11" fmla="*/ 52 h 320"/>
                <a:gd name="T12" fmla="*/ 92 w 382"/>
                <a:gd name="T13" fmla="*/ 66 h 320"/>
                <a:gd name="T14" fmla="*/ 118 w 382"/>
                <a:gd name="T15" fmla="*/ 78 h 320"/>
                <a:gd name="T16" fmla="*/ 144 w 382"/>
                <a:gd name="T17" fmla="*/ 88 h 320"/>
                <a:gd name="T18" fmla="*/ 170 w 382"/>
                <a:gd name="T19" fmla="*/ 98 h 320"/>
                <a:gd name="T20" fmla="*/ 198 w 382"/>
                <a:gd name="T21" fmla="*/ 106 h 320"/>
                <a:gd name="T22" fmla="*/ 226 w 382"/>
                <a:gd name="T23" fmla="*/ 112 h 320"/>
                <a:gd name="T24" fmla="*/ 254 w 382"/>
                <a:gd name="T25" fmla="*/ 114 h 320"/>
                <a:gd name="T26" fmla="*/ 282 w 382"/>
                <a:gd name="T27" fmla="*/ 116 h 320"/>
                <a:gd name="T28" fmla="*/ 308 w 382"/>
                <a:gd name="T29" fmla="*/ 114 h 320"/>
                <a:gd name="T30" fmla="*/ 334 w 382"/>
                <a:gd name="T31" fmla="*/ 108 h 320"/>
                <a:gd name="T32" fmla="*/ 358 w 382"/>
                <a:gd name="T33" fmla="*/ 100 h 320"/>
                <a:gd name="T34" fmla="*/ 382 w 382"/>
                <a:gd name="T35" fmla="*/ 86 h 320"/>
                <a:gd name="T36" fmla="*/ 382 w 382"/>
                <a:gd name="T37" fmla="*/ 86 h 320"/>
                <a:gd name="T38" fmla="*/ 364 w 382"/>
                <a:gd name="T39" fmla="*/ 104 h 320"/>
                <a:gd name="T40" fmla="*/ 324 w 382"/>
                <a:gd name="T41" fmla="*/ 146 h 320"/>
                <a:gd name="T42" fmla="*/ 304 w 382"/>
                <a:gd name="T43" fmla="*/ 172 h 320"/>
                <a:gd name="T44" fmla="*/ 284 w 382"/>
                <a:gd name="T45" fmla="*/ 200 h 320"/>
                <a:gd name="T46" fmla="*/ 268 w 382"/>
                <a:gd name="T47" fmla="*/ 226 h 320"/>
                <a:gd name="T48" fmla="*/ 264 w 382"/>
                <a:gd name="T49" fmla="*/ 240 h 320"/>
                <a:gd name="T50" fmla="*/ 260 w 382"/>
                <a:gd name="T51" fmla="*/ 252 h 320"/>
                <a:gd name="T52" fmla="*/ 260 w 382"/>
                <a:gd name="T53" fmla="*/ 252 h 320"/>
                <a:gd name="T54" fmla="*/ 256 w 382"/>
                <a:gd name="T55" fmla="*/ 264 h 320"/>
                <a:gd name="T56" fmla="*/ 250 w 382"/>
                <a:gd name="T57" fmla="*/ 276 h 320"/>
                <a:gd name="T58" fmla="*/ 242 w 382"/>
                <a:gd name="T59" fmla="*/ 286 h 320"/>
                <a:gd name="T60" fmla="*/ 232 w 382"/>
                <a:gd name="T61" fmla="*/ 298 h 320"/>
                <a:gd name="T62" fmla="*/ 218 w 382"/>
                <a:gd name="T63" fmla="*/ 306 h 320"/>
                <a:gd name="T64" fmla="*/ 204 w 382"/>
                <a:gd name="T65" fmla="*/ 314 h 320"/>
                <a:gd name="T66" fmla="*/ 190 w 382"/>
                <a:gd name="T67" fmla="*/ 318 h 320"/>
                <a:gd name="T68" fmla="*/ 174 w 382"/>
                <a:gd name="T69" fmla="*/ 320 h 320"/>
                <a:gd name="T70" fmla="*/ 156 w 382"/>
                <a:gd name="T71" fmla="*/ 320 h 320"/>
                <a:gd name="T72" fmla="*/ 138 w 382"/>
                <a:gd name="T73" fmla="*/ 316 h 320"/>
                <a:gd name="T74" fmla="*/ 120 w 382"/>
                <a:gd name="T75" fmla="*/ 306 h 320"/>
                <a:gd name="T76" fmla="*/ 102 w 382"/>
                <a:gd name="T77" fmla="*/ 294 h 320"/>
                <a:gd name="T78" fmla="*/ 86 w 382"/>
                <a:gd name="T79" fmla="*/ 276 h 320"/>
                <a:gd name="T80" fmla="*/ 68 w 382"/>
                <a:gd name="T81" fmla="*/ 254 h 320"/>
                <a:gd name="T82" fmla="*/ 52 w 382"/>
                <a:gd name="T83" fmla="*/ 224 h 320"/>
                <a:gd name="T84" fmla="*/ 36 w 382"/>
                <a:gd name="T85" fmla="*/ 190 h 320"/>
                <a:gd name="T86" fmla="*/ 36 w 382"/>
                <a:gd name="T87" fmla="*/ 190 h 320"/>
                <a:gd name="T88" fmla="*/ 22 w 382"/>
                <a:gd name="T89" fmla="*/ 146 h 320"/>
                <a:gd name="T90" fmla="*/ 12 w 382"/>
                <a:gd name="T91" fmla="*/ 108 h 320"/>
                <a:gd name="T92" fmla="*/ 4 w 382"/>
                <a:gd name="T93" fmla="*/ 76 h 320"/>
                <a:gd name="T94" fmla="*/ 2 w 382"/>
                <a:gd name="T95" fmla="*/ 50 h 320"/>
                <a:gd name="T96" fmla="*/ 0 w 382"/>
                <a:gd name="T97" fmla="*/ 28 h 320"/>
                <a:gd name="T98" fmla="*/ 0 w 382"/>
                <a:gd name="T99" fmla="*/ 12 h 320"/>
                <a:gd name="T100" fmla="*/ 2 w 382"/>
                <a:gd name="T101" fmla="*/ 0 h 320"/>
                <a:gd name="T102" fmla="*/ 2 w 382"/>
                <a:gd name="T103" fmla="*/ 0 h 3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82"/>
                <a:gd name="T157" fmla="*/ 0 h 320"/>
                <a:gd name="T158" fmla="*/ 382 w 382"/>
                <a:gd name="T159" fmla="*/ 320 h 3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82" h="320">
                  <a:moveTo>
                    <a:pt x="2" y="0"/>
                  </a:moveTo>
                  <a:lnTo>
                    <a:pt x="2" y="0"/>
                  </a:lnTo>
                  <a:lnTo>
                    <a:pt x="14" y="14"/>
                  </a:lnTo>
                  <a:lnTo>
                    <a:pt x="30" y="26"/>
                  </a:lnTo>
                  <a:lnTo>
                    <a:pt x="48" y="40"/>
                  </a:lnTo>
                  <a:lnTo>
                    <a:pt x="70" y="52"/>
                  </a:lnTo>
                  <a:lnTo>
                    <a:pt x="92" y="66"/>
                  </a:lnTo>
                  <a:lnTo>
                    <a:pt x="118" y="78"/>
                  </a:lnTo>
                  <a:lnTo>
                    <a:pt x="144" y="88"/>
                  </a:lnTo>
                  <a:lnTo>
                    <a:pt x="170" y="98"/>
                  </a:lnTo>
                  <a:lnTo>
                    <a:pt x="198" y="106"/>
                  </a:lnTo>
                  <a:lnTo>
                    <a:pt x="226" y="112"/>
                  </a:lnTo>
                  <a:lnTo>
                    <a:pt x="254" y="114"/>
                  </a:lnTo>
                  <a:lnTo>
                    <a:pt x="282" y="116"/>
                  </a:lnTo>
                  <a:lnTo>
                    <a:pt x="308" y="114"/>
                  </a:lnTo>
                  <a:lnTo>
                    <a:pt x="334" y="108"/>
                  </a:lnTo>
                  <a:lnTo>
                    <a:pt x="358" y="100"/>
                  </a:lnTo>
                  <a:lnTo>
                    <a:pt x="382" y="86"/>
                  </a:lnTo>
                  <a:lnTo>
                    <a:pt x="364" y="104"/>
                  </a:lnTo>
                  <a:lnTo>
                    <a:pt x="324" y="146"/>
                  </a:lnTo>
                  <a:lnTo>
                    <a:pt x="304" y="172"/>
                  </a:lnTo>
                  <a:lnTo>
                    <a:pt x="284" y="200"/>
                  </a:lnTo>
                  <a:lnTo>
                    <a:pt x="268" y="226"/>
                  </a:lnTo>
                  <a:lnTo>
                    <a:pt x="264" y="240"/>
                  </a:lnTo>
                  <a:lnTo>
                    <a:pt x="260" y="252"/>
                  </a:lnTo>
                  <a:lnTo>
                    <a:pt x="256" y="264"/>
                  </a:lnTo>
                  <a:lnTo>
                    <a:pt x="250" y="276"/>
                  </a:lnTo>
                  <a:lnTo>
                    <a:pt x="242" y="286"/>
                  </a:lnTo>
                  <a:lnTo>
                    <a:pt x="232" y="298"/>
                  </a:lnTo>
                  <a:lnTo>
                    <a:pt x="218" y="306"/>
                  </a:lnTo>
                  <a:lnTo>
                    <a:pt x="204" y="314"/>
                  </a:lnTo>
                  <a:lnTo>
                    <a:pt x="190" y="318"/>
                  </a:lnTo>
                  <a:lnTo>
                    <a:pt x="174" y="320"/>
                  </a:lnTo>
                  <a:lnTo>
                    <a:pt x="156" y="320"/>
                  </a:lnTo>
                  <a:lnTo>
                    <a:pt x="138" y="316"/>
                  </a:lnTo>
                  <a:lnTo>
                    <a:pt x="120" y="306"/>
                  </a:lnTo>
                  <a:lnTo>
                    <a:pt x="102" y="294"/>
                  </a:lnTo>
                  <a:lnTo>
                    <a:pt x="86" y="276"/>
                  </a:lnTo>
                  <a:lnTo>
                    <a:pt x="68" y="254"/>
                  </a:lnTo>
                  <a:lnTo>
                    <a:pt x="52" y="224"/>
                  </a:lnTo>
                  <a:lnTo>
                    <a:pt x="36" y="190"/>
                  </a:lnTo>
                  <a:lnTo>
                    <a:pt x="22" y="146"/>
                  </a:lnTo>
                  <a:lnTo>
                    <a:pt x="12" y="108"/>
                  </a:lnTo>
                  <a:lnTo>
                    <a:pt x="4" y="76"/>
                  </a:lnTo>
                  <a:lnTo>
                    <a:pt x="2" y="50"/>
                  </a:lnTo>
                  <a:lnTo>
                    <a:pt x="0" y="28"/>
                  </a:lnTo>
                  <a:lnTo>
                    <a:pt x="0" y="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5E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4330" y="2883"/>
              <a:ext cx="332" cy="260"/>
            </a:xfrm>
            <a:custGeom>
              <a:avLst/>
              <a:gdLst>
                <a:gd name="T0" fmla="*/ 0 w 332"/>
                <a:gd name="T1" fmla="*/ 0 h 260"/>
                <a:gd name="T2" fmla="*/ 0 w 332"/>
                <a:gd name="T3" fmla="*/ 0 h 260"/>
                <a:gd name="T4" fmla="*/ 20 w 332"/>
                <a:gd name="T5" fmla="*/ 22 h 260"/>
                <a:gd name="T6" fmla="*/ 40 w 332"/>
                <a:gd name="T7" fmla="*/ 42 h 260"/>
                <a:gd name="T8" fmla="*/ 62 w 332"/>
                <a:gd name="T9" fmla="*/ 60 h 260"/>
                <a:gd name="T10" fmla="*/ 86 w 332"/>
                <a:gd name="T11" fmla="*/ 76 h 260"/>
                <a:gd name="T12" fmla="*/ 112 w 332"/>
                <a:gd name="T13" fmla="*/ 90 h 260"/>
                <a:gd name="T14" fmla="*/ 138 w 332"/>
                <a:gd name="T15" fmla="*/ 102 h 260"/>
                <a:gd name="T16" fmla="*/ 164 w 332"/>
                <a:gd name="T17" fmla="*/ 110 h 260"/>
                <a:gd name="T18" fmla="*/ 190 w 332"/>
                <a:gd name="T19" fmla="*/ 118 h 260"/>
                <a:gd name="T20" fmla="*/ 190 w 332"/>
                <a:gd name="T21" fmla="*/ 118 h 260"/>
                <a:gd name="T22" fmla="*/ 208 w 332"/>
                <a:gd name="T23" fmla="*/ 122 h 260"/>
                <a:gd name="T24" fmla="*/ 226 w 332"/>
                <a:gd name="T25" fmla="*/ 122 h 260"/>
                <a:gd name="T26" fmla="*/ 244 w 332"/>
                <a:gd name="T27" fmla="*/ 122 h 260"/>
                <a:gd name="T28" fmla="*/ 262 w 332"/>
                <a:gd name="T29" fmla="*/ 122 h 260"/>
                <a:gd name="T30" fmla="*/ 280 w 332"/>
                <a:gd name="T31" fmla="*/ 118 h 260"/>
                <a:gd name="T32" fmla="*/ 298 w 332"/>
                <a:gd name="T33" fmla="*/ 114 h 260"/>
                <a:gd name="T34" fmla="*/ 316 w 332"/>
                <a:gd name="T35" fmla="*/ 108 h 260"/>
                <a:gd name="T36" fmla="*/ 332 w 332"/>
                <a:gd name="T37" fmla="*/ 100 h 260"/>
                <a:gd name="T38" fmla="*/ 332 w 332"/>
                <a:gd name="T39" fmla="*/ 100 h 260"/>
                <a:gd name="T40" fmla="*/ 312 w 332"/>
                <a:gd name="T41" fmla="*/ 122 h 260"/>
                <a:gd name="T42" fmla="*/ 286 w 332"/>
                <a:gd name="T43" fmla="*/ 152 h 260"/>
                <a:gd name="T44" fmla="*/ 272 w 332"/>
                <a:gd name="T45" fmla="*/ 168 h 260"/>
                <a:gd name="T46" fmla="*/ 260 w 332"/>
                <a:gd name="T47" fmla="*/ 186 h 260"/>
                <a:gd name="T48" fmla="*/ 250 w 332"/>
                <a:gd name="T49" fmla="*/ 206 h 260"/>
                <a:gd name="T50" fmla="*/ 244 w 332"/>
                <a:gd name="T51" fmla="*/ 226 h 260"/>
                <a:gd name="T52" fmla="*/ 244 w 332"/>
                <a:gd name="T53" fmla="*/ 226 h 260"/>
                <a:gd name="T54" fmla="*/ 240 w 332"/>
                <a:gd name="T55" fmla="*/ 234 h 260"/>
                <a:gd name="T56" fmla="*/ 232 w 332"/>
                <a:gd name="T57" fmla="*/ 242 h 260"/>
                <a:gd name="T58" fmla="*/ 224 w 332"/>
                <a:gd name="T59" fmla="*/ 250 h 260"/>
                <a:gd name="T60" fmla="*/ 212 w 332"/>
                <a:gd name="T61" fmla="*/ 254 h 260"/>
                <a:gd name="T62" fmla="*/ 200 w 332"/>
                <a:gd name="T63" fmla="*/ 258 h 260"/>
                <a:gd name="T64" fmla="*/ 186 w 332"/>
                <a:gd name="T65" fmla="*/ 260 h 260"/>
                <a:gd name="T66" fmla="*/ 170 w 332"/>
                <a:gd name="T67" fmla="*/ 260 h 260"/>
                <a:gd name="T68" fmla="*/ 154 w 332"/>
                <a:gd name="T69" fmla="*/ 260 h 260"/>
                <a:gd name="T70" fmla="*/ 138 w 332"/>
                <a:gd name="T71" fmla="*/ 256 h 260"/>
                <a:gd name="T72" fmla="*/ 122 w 332"/>
                <a:gd name="T73" fmla="*/ 250 h 260"/>
                <a:gd name="T74" fmla="*/ 104 w 332"/>
                <a:gd name="T75" fmla="*/ 242 h 260"/>
                <a:gd name="T76" fmla="*/ 90 w 332"/>
                <a:gd name="T77" fmla="*/ 232 h 260"/>
                <a:gd name="T78" fmla="*/ 74 w 332"/>
                <a:gd name="T79" fmla="*/ 220 h 260"/>
                <a:gd name="T80" fmla="*/ 62 w 332"/>
                <a:gd name="T81" fmla="*/ 206 h 260"/>
                <a:gd name="T82" fmla="*/ 50 w 332"/>
                <a:gd name="T83" fmla="*/ 190 h 260"/>
                <a:gd name="T84" fmla="*/ 40 w 332"/>
                <a:gd name="T85" fmla="*/ 170 h 260"/>
                <a:gd name="T86" fmla="*/ 40 w 332"/>
                <a:gd name="T87" fmla="*/ 170 h 260"/>
                <a:gd name="T88" fmla="*/ 24 w 332"/>
                <a:gd name="T89" fmla="*/ 130 h 260"/>
                <a:gd name="T90" fmla="*/ 14 w 332"/>
                <a:gd name="T91" fmla="*/ 96 h 260"/>
                <a:gd name="T92" fmla="*/ 6 w 332"/>
                <a:gd name="T93" fmla="*/ 68 h 260"/>
                <a:gd name="T94" fmla="*/ 2 w 332"/>
                <a:gd name="T95" fmla="*/ 44 h 260"/>
                <a:gd name="T96" fmla="*/ 0 w 332"/>
                <a:gd name="T97" fmla="*/ 24 h 260"/>
                <a:gd name="T98" fmla="*/ 0 w 332"/>
                <a:gd name="T99" fmla="*/ 12 h 260"/>
                <a:gd name="T100" fmla="*/ 0 w 332"/>
                <a:gd name="T101" fmla="*/ 0 h 260"/>
                <a:gd name="T102" fmla="*/ 0 w 332"/>
                <a:gd name="T103" fmla="*/ 0 h 26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2"/>
                <a:gd name="T157" fmla="*/ 0 h 260"/>
                <a:gd name="T158" fmla="*/ 332 w 332"/>
                <a:gd name="T159" fmla="*/ 260 h 26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2" h="260">
                  <a:moveTo>
                    <a:pt x="0" y="0"/>
                  </a:moveTo>
                  <a:lnTo>
                    <a:pt x="0" y="0"/>
                  </a:lnTo>
                  <a:lnTo>
                    <a:pt x="20" y="22"/>
                  </a:lnTo>
                  <a:lnTo>
                    <a:pt x="40" y="42"/>
                  </a:lnTo>
                  <a:lnTo>
                    <a:pt x="62" y="60"/>
                  </a:lnTo>
                  <a:lnTo>
                    <a:pt x="86" y="76"/>
                  </a:lnTo>
                  <a:lnTo>
                    <a:pt x="112" y="90"/>
                  </a:lnTo>
                  <a:lnTo>
                    <a:pt x="138" y="102"/>
                  </a:lnTo>
                  <a:lnTo>
                    <a:pt x="164" y="110"/>
                  </a:lnTo>
                  <a:lnTo>
                    <a:pt x="190" y="118"/>
                  </a:lnTo>
                  <a:lnTo>
                    <a:pt x="208" y="122"/>
                  </a:lnTo>
                  <a:lnTo>
                    <a:pt x="226" y="122"/>
                  </a:lnTo>
                  <a:lnTo>
                    <a:pt x="244" y="122"/>
                  </a:lnTo>
                  <a:lnTo>
                    <a:pt x="262" y="122"/>
                  </a:lnTo>
                  <a:lnTo>
                    <a:pt x="280" y="118"/>
                  </a:lnTo>
                  <a:lnTo>
                    <a:pt x="298" y="114"/>
                  </a:lnTo>
                  <a:lnTo>
                    <a:pt x="316" y="108"/>
                  </a:lnTo>
                  <a:lnTo>
                    <a:pt x="332" y="100"/>
                  </a:lnTo>
                  <a:lnTo>
                    <a:pt x="312" y="122"/>
                  </a:lnTo>
                  <a:lnTo>
                    <a:pt x="286" y="152"/>
                  </a:lnTo>
                  <a:lnTo>
                    <a:pt x="272" y="168"/>
                  </a:lnTo>
                  <a:lnTo>
                    <a:pt x="260" y="186"/>
                  </a:lnTo>
                  <a:lnTo>
                    <a:pt x="250" y="206"/>
                  </a:lnTo>
                  <a:lnTo>
                    <a:pt x="244" y="226"/>
                  </a:lnTo>
                  <a:lnTo>
                    <a:pt x="240" y="234"/>
                  </a:lnTo>
                  <a:lnTo>
                    <a:pt x="232" y="242"/>
                  </a:lnTo>
                  <a:lnTo>
                    <a:pt x="224" y="250"/>
                  </a:lnTo>
                  <a:lnTo>
                    <a:pt x="212" y="254"/>
                  </a:lnTo>
                  <a:lnTo>
                    <a:pt x="200" y="258"/>
                  </a:lnTo>
                  <a:lnTo>
                    <a:pt x="186" y="260"/>
                  </a:lnTo>
                  <a:lnTo>
                    <a:pt x="170" y="260"/>
                  </a:lnTo>
                  <a:lnTo>
                    <a:pt x="154" y="260"/>
                  </a:lnTo>
                  <a:lnTo>
                    <a:pt x="138" y="256"/>
                  </a:lnTo>
                  <a:lnTo>
                    <a:pt x="122" y="250"/>
                  </a:lnTo>
                  <a:lnTo>
                    <a:pt x="104" y="242"/>
                  </a:lnTo>
                  <a:lnTo>
                    <a:pt x="90" y="232"/>
                  </a:lnTo>
                  <a:lnTo>
                    <a:pt x="74" y="220"/>
                  </a:lnTo>
                  <a:lnTo>
                    <a:pt x="62" y="206"/>
                  </a:lnTo>
                  <a:lnTo>
                    <a:pt x="50" y="190"/>
                  </a:lnTo>
                  <a:lnTo>
                    <a:pt x="40" y="170"/>
                  </a:lnTo>
                  <a:lnTo>
                    <a:pt x="24" y="130"/>
                  </a:lnTo>
                  <a:lnTo>
                    <a:pt x="14" y="96"/>
                  </a:lnTo>
                  <a:lnTo>
                    <a:pt x="6" y="68"/>
                  </a:lnTo>
                  <a:lnTo>
                    <a:pt x="2" y="44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pic>
          <p:nvPicPr>
            <p:cNvPr id="61" name="Picture 240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314" y="2879"/>
              <a:ext cx="354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4606" y="2591"/>
              <a:ext cx="224" cy="298"/>
            </a:xfrm>
            <a:custGeom>
              <a:avLst/>
              <a:gdLst>
                <a:gd name="T0" fmla="*/ 16 w 224"/>
                <a:gd name="T1" fmla="*/ 270 h 298"/>
                <a:gd name="T2" fmla="*/ 16 w 224"/>
                <a:gd name="T3" fmla="*/ 270 h 298"/>
                <a:gd name="T4" fmla="*/ 10 w 224"/>
                <a:gd name="T5" fmla="*/ 254 h 298"/>
                <a:gd name="T6" fmla="*/ 4 w 224"/>
                <a:gd name="T7" fmla="*/ 234 h 298"/>
                <a:gd name="T8" fmla="*/ 2 w 224"/>
                <a:gd name="T9" fmla="*/ 212 h 298"/>
                <a:gd name="T10" fmla="*/ 0 w 224"/>
                <a:gd name="T11" fmla="*/ 190 h 298"/>
                <a:gd name="T12" fmla="*/ 0 w 224"/>
                <a:gd name="T13" fmla="*/ 166 h 298"/>
                <a:gd name="T14" fmla="*/ 4 w 224"/>
                <a:gd name="T15" fmla="*/ 142 h 298"/>
                <a:gd name="T16" fmla="*/ 8 w 224"/>
                <a:gd name="T17" fmla="*/ 118 h 298"/>
                <a:gd name="T18" fmla="*/ 16 w 224"/>
                <a:gd name="T19" fmla="*/ 96 h 298"/>
                <a:gd name="T20" fmla="*/ 16 w 224"/>
                <a:gd name="T21" fmla="*/ 96 h 298"/>
                <a:gd name="T22" fmla="*/ 24 w 224"/>
                <a:gd name="T23" fmla="*/ 82 h 298"/>
                <a:gd name="T24" fmla="*/ 30 w 224"/>
                <a:gd name="T25" fmla="*/ 68 h 298"/>
                <a:gd name="T26" fmla="*/ 40 w 224"/>
                <a:gd name="T27" fmla="*/ 56 h 298"/>
                <a:gd name="T28" fmla="*/ 48 w 224"/>
                <a:gd name="T29" fmla="*/ 44 h 298"/>
                <a:gd name="T30" fmla="*/ 58 w 224"/>
                <a:gd name="T31" fmla="*/ 36 h 298"/>
                <a:gd name="T32" fmla="*/ 68 w 224"/>
                <a:gd name="T33" fmla="*/ 26 h 298"/>
                <a:gd name="T34" fmla="*/ 78 w 224"/>
                <a:gd name="T35" fmla="*/ 18 h 298"/>
                <a:gd name="T36" fmla="*/ 88 w 224"/>
                <a:gd name="T37" fmla="*/ 12 h 298"/>
                <a:gd name="T38" fmla="*/ 100 w 224"/>
                <a:gd name="T39" fmla="*/ 8 h 298"/>
                <a:gd name="T40" fmla="*/ 110 w 224"/>
                <a:gd name="T41" fmla="*/ 4 h 298"/>
                <a:gd name="T42" fmla="*/ 122 w 224"/>
                <a:gd name="T43" fmla="*/ 2 h 298"/>
                <a:gd name="T44" fmla="*/ 132 w 224"/>
                <a:gd name="T45" fmla="*/ 0 h 298"/>
                <a:gd name="T46" fmla="*/ 144 w 224"/>
                <a:gd name="T47" fmla="*/ 0 h 298"/>
                <a:gd name="T48" fmla="*/ 154 w 224"/>
                <a:gd name="T49" fmla="*/ 2 h 298"/>
                <a:gd name="T50" fmla="*/ 164 w 224"/>
                <a:gd name="T51" fmla="*/ 4 h 298"/>
                <a:gd name="T52" fmla="*/ 174 w 224"/>
                <a:gd name="T53" fmla="*/ 8 h 298"/>
                <a:gd name="T54" fmla="*/ 174 w 224"/>
                <a:gd name="T55" fmla="*/ 8 h 298"/>
                <a:gd name="T56" fmla="*/ 184 w 224"/>
                <a:gd name="T57" fmla="*/ 14 h 298"/>
                <a:gd name="T58" fmla="*/ 192 w 224"/>
                <a:gd name="T59" fmla="*/ 22 h 298"/>
                <a:gd name="T60" fmla="*/ 198 w 224"/>
                <a:gd name="T61" fmla="*/ 30 h 298"/>
                <a:gd name="T62" fmla="*/ 204 w 224"/>
                <a:gd name="T63" fmla="*/ 40 h 298"/>
                <a:gd name="T64" fmla="*/ 210 w 224"/>
                <a:gd name="T65" fmla="*/ 50 h 298"/>
                <a:gd name="T66" fmla="*/ 214 w 224"/>
                <a:gd name="T67" fmla="*/ 62 h 298"/>
                <a:gd name="T68" fmla="*/ 222 w 224"/>
                <a:gd name="T69" fmla="*/ 88 h 298"/>
                <a:gd name="T70" fmla="*/ 224 w 224"/>
                <a:gd name="T71" fmla="*/ 118 h 298"/>
                <a:gd name="T72" fmla="*/ 222 w 224"/>
                <a:gd name="T73" fmla="*/ 148 h 298"/>
                <a:gd name="T74" fmla="*/ 216 w 224"/>
                <a:gd name="T75" fmla="*/ 178 h 298"/>
                <a:gd name="T76" fmla="*/ 204 w 224"/>
                <a:gd name="T77" fmla="*/ 210 h 298"/>
                <a:gd name="T78" fmla="*/ 204 w 224"/>
                <a:gd name="T79" fmla="*/ 210 h 298"/>
                <a:gd name="T80" fmla="*/ 190 w 224"/>
                <a:gd name="T81" fmla="*/ 238 h 298"/>
                <a:gd name="T82" fmla="*/ 174 w 224"/>
                <a:gd name="T83" fmla="*/ 262 h 298"/>
                <a:gd name="T84" fmla="*/ 156 w 224"/>
                <a:gd name="T85" fmla="*/ 282 h 298"/>
                <a:gd name="T86" fmla="*/ 136 w 224"/>
                <a:gd name="T87" fmla="*/ 298 h 298"/>
                <a:gd name="T88" fmla="*/ 136 w 224"/>
                <a:gd name="T89" fmla="*/ 298 h 298"/>
                <a:gd name="T90" fmla="*/ 122 w 224"/>
                <a:gd name="T91" fmla="*/ 288 h 298"/>
                <a:gd name="T92" fmla="*/ 108 w 224"/>
                <a:gd name="T93" fmla="*/ 278 h 298"/>
                <a:gd name="T94" fmla="*/ 90 w 224"/>
                <a:gd name="T95" fmla="*/ 272 h 298"/>
                <a:gd name="T96" fmla="*/ 80 w 224"/>
                <a:gd name="T97" fmla="*/ 270 h 298"/>
                <a:gd name="T98" fmla="*/ 70 w 224"/>
                <a:gd name="T99" fmla="*/ 268 h 298"/>
                <a:gd name="T100" fmla="*/ 70 w 224"/>
                <a:gd name="T101" fmla="*/ 268 h 298"/>
                <a:gd name="T102" fmla="*/ 42 w 224"/>
                <a:gd name="T103" fmla="*/ 268 h 298"/>
                <a:gd name="T104" fmla="*/ 28 w 224"/>
                <a:gd name="T105" fmla="*/ 270 h 298"/>
                <a:gd name="T106" fmla="*/ 18 w 224"/>
                <a:gd name="T107" fmla="*/ 270 h 298"/>
                <a:gd name="T108" fmla="*/ 18 w 224"/>
                <a:gd name="T109" fmla="*/ 270 h 298"/>
                <a:gd name="T110" fmla="*/ 16 w 224"/>
                <a:gd name="T111" fmla="*/ 270 h 298"/>
                <a:gd name="T112" fmla="*/ 16 w 224"/>
                <a:gd name="T113" fmla="*/ 270 h 2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4"/>
                <a:gd name="T172" fmla="*/ 0 h 298"/>
                <a:gd name="T173" fmla="*/ 224 w 224"/>
                <a:gd name="T174" fmla="*/ 298 h 2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4" h="298">
                  <a:moveTo>
                    <a:pt x="16" y="270"/>
                  </a:moveTo>
                  <a:lnTo>
                    <a:pt x="16" y="270"/>
                  </a:lnTo>
                  <a:lnTo>
                    <a:pt x="10" y="254"/>
                  </a:lnTo>
                  <a:lnTo>
                    <a:pt x="4" y="234"/>
                  </a:lnTo>
                  <a:lnTo>
                    <a:pt x="2" y="212"/>
                  </a:lnTo>
                  <a:lnTo>
                    <a:pt x="0" y="190"/>
                  </a:lnTo>
                  <a:lnTo>
                    <a:pt x="0" y="166"/>
                  </a:lnTo>
                  <a:lnTo>
                    <a:pt x="4" y="142"/>
                  </a:lnTo>
                  <a:lnTo>
                    <a:pt x="8" y="118"/>
                  </a:lnTo>
                  <a:lnTo>
                    <a:pt x="16" y="96"/>
                  </a:lnTo>
                  <a:lnTo>
                    <a:pt x="24" y="82"/>
                  </a:lnTo>
                  <a:lnTo>
                    <a:pt x="30" y="68"/>
                  </a:lnTo>
                  <a:lnTo>
                    <a:pt x="40" y="56"/>
                  </a:lnTo>
                  <a:lnTo>
                    <a:pt x="48" y="44"/>
                  </a:lnTo>
                  <a:lnTo>
                    <a:pt x="58" y="36"/>
                  </a:lnTo>
                  <a:lnTo>
                    <a:pt x="68" y="26"/>
                  </a:lnTo>
                  <a:lnTo>
                    <a:pt x="78" y="18"/>
                  </a:lnTo>
                  <a:lnTo>
                    <a:pt x="88" y="12"/>
                  </a:lnTo>
                  <a:lnTo>
                    <a:pt x="100" y="8"/>
                  </a:lnTo>
                  <a:lnTo>
                    <a:pt x="110" y="4"/>
                  </a:lnTo>
                  <a:lnTo>
                    <a:pt x="122" y="2"/>
                  </a:lnTo>
                  <a:lnTo>
                    <a:pt x="132" y="0"/>
                  </a:lnTo>
                  <a:lnTo>
                    <a:pt x="144" y="0"/>
                  </a:lnTo>
                  <a:lnTo>
                    <a:pt x="154" y="2"/>
                  </a:lnTo>
                  <a:lnTo>
                    <a:pt x="164" y="4"/>
                  </a:lnTo>
                  <a:lnTo>
                    <a:pt x="174" y="8"/>
                  </a:lnTo>
                  <a:lnTo>
                    <a:pt x="184" y="14"/>
                  </a:lnTo>
                  <a:lnTo>
                    <a:pt x="192" y="22"/>
                  </a:lnTo>
                  <a:lnTo>
                    <a:pt x="198" y="30"/>
                  </a:lnTo>
                  <a:lnTo>
                    <a:pt x="204" y="40"/>
                  </a:lnTo>
                  <a:lnTo>
                    <a:pt x="210" y="50"/>
                  </a:lnTo>
                  <a:lnTo>
                    <a:pt x="214" y="62"/>
                  </a:lnTo>
                  <a:lnTo>
                    <a:pt x="222" y="88"/>
                  </a:lnTo>
                  <a:lnTo>
                    <a:pt x="224" y="118"/>
                  </a:lnTo>
                  <a:lnTo>
                    <a:pt x="222" y="148"/>
                  </a:lnTo>
                  <a:lnTo>
                    <a:pt x="216" y="178"/>
                  </a:lnTo>
                  <a:lnTo>
                    <a:pt x="204" y="210"/>
                  </a:lnTo>
                  <a:lnTo>
                    <a:pt x="190" y="238"/>
                  </a:lnTo>
                  <a:lnTo>
                    <a:pt x="174" y="262"/>
                  </a:lnTo>
                  <a:lnTo>
                    <a:pt x="156" y="282"/>
                  </a:lnTo>
                  <a:lnTo>
                    <a:pt x="136" y="298"/>
                  </a:lnTo>
                  <a:lnTo>
                    <a:pt x="122" y="288"/>
                  </a:lnTo>
                  <a:lnTo>
                    <a:pt x="108" y="278"/>
                  </a:lnTo>
                  <a:lnTo>
                    <a:pt x="90" y="272"/>
                  </a:lnTo>
                  <a:lnTo>
                    <a:pt x="80" y="270"/>
                  </a:lnTo>
                  <a:lnTo>
                    <a:pt x="70" y="268"/>
                  </a:lnTo>
                  <a:lnTo>
                    <a:pt x="42" y="268"/>
                  </a:lnTo>
                  <a:lnTo>
                    <a:pt x="28" y="270"/>
                  </a:lnTo>
                  <a:lnTo>
                    <a:pt x="18" y="270"/>
                  </a:lnTo>
                  <a:lnTo>
                    <a:pt x="16" y="270"/>
                  </a:lnTo>
                  <a:close/>
                </a:path>
              </a:pathLst>
            </a:custGeom>
            <a:solidFill>
              <a:srgbClr val="FFC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242"/>
            <p:cNvSpPr>
              <a:spLocks/>
            </p:cNvSpPr>
            <p:nvPr/>
          </p:nvSpPr>
          <p:spPr bwMode="auto">
            <a:xfrm>
              <a:off x="4624" y="2601"/>
              <a:ext cx="206" cy="290"/>
            </a:xfrm>
            <a:custGeom>
              <a:avLst/>
              <a:gdLst>
                <a:gd name="T0" fmla="*/ 162 w 206"/>
                <a:gd name="T1" fmla="*/ 6 h 290"/>
                <a:gd name="T2" fmla="*/ 162 w 206"/>
                <a:gd name="T3" fmla="*/ 6 h 290"/>
                <a:gd name="T4" fmla="*/ 154 w 206"/>
                <a:gd name="T5" fmla="*/ 2 h 290"/>
                <a:gd name="T6" fmla="*/ 144 w 206"/>
                <a:gd name="T7" fmla="*/ 0 h 290"/>
                <a:gd name="T8" fmla="*/ 134 w 206"/>
                <a:gd name="T9" fmla="*/ 0 h 290"/>
                <a:gd name="T10" fmla="*/ 126 w 206"/>
                <a:gd name="T11" fmla="*/ 0 h 290"/>
                <a:gd name="T12" fmla="*/ 116 w 206"/>
                <a:gd name="T13" fmla="*/ 2 h 290"/>
                <a:gd name="T14" fmla="*/ 106 w 206"/>
                <a:gd name="T15" fmla="*/ 6 h 290"/>
                <a:gd name="T16" fmla="*/ 86 w 206"/>
                <a:gd name="T17" fmla="*/ 18 h 290"/>
                <a:gd name="T18" fmla="*/ 66 w 206"/>
                <a:gd name="T19" fmla="*/ 34 h 290"/>
                <a:gd name="T20" fmla="*/ 48 w 206"/>
                <a:gd name="T21" fmla="*/ 54 h 290"/>
                <a:gd name="T22" fmla="*/ 32 w 206"/>
                <a:gd name="T23" fmla="*/ 80 h 290"/>
                <a:gd name="T24" fmla="*/ 20 w 206"/>
                <a:gd name="T25" fmla="*/ 108 h 290"/>
                <a:gd name="T26" fmla="*/ 20 w 206"/>
                <a:gd name="T27" fmla="*/ 108 h 290"/>
                <a:gd name="T28" fmla="*/ 12 w 206"/>
                <a:gd name="T29" fmla="*/ 128 h 290"/>
                <a:gd name="T30" fmla="*/ 6 w 206"/>
                <a:gd name="T31" fmla="*/ 150 h 290"/>
                <a:gd name="T32" fmla="*/ 2 w 206"/>
                <a:gd name="T33" fmla="*/ 170 h 290"/>
                <a:gd name="T34" fmla="*/ 0 w 206"/>
                <a:gd name="T35" fmla="*/ 190 h 290"/>
                <a:gd name="T36" fmla="*/ 0 w 206"/>
                <a:gd name="T37" fmla="*/ 208 h 290"/>
                <a:gd name="T38" fmla="*/ 2 w 206"/>
                <a:gd name="T39" fmla="*/ 226 h 290"/>
                <a:gd name="T40" fmla="*/ 6 w 206"/>
                <a:gd name="T41" fmla="*/ 244 h 290"/>
                <a:gd name="T42" fmla="*/ 10 w 206"/>
                <a:gd name="T43" fmla="*/ 258 h 290"/>
                <a:gd name="T44" fmla="*/ 10 w 206"/>
                <a:gd name="T45" fmla="*/ 258 h 290"/>
                <a:gd name="T46" fmla="*/ 26 w 206"/>
                <a:gd name="T47" fmla="*/ 258 h 290"/>
                <a:gd name="T48" fmla="*/ 52 w 206"/>
                <a:gd name="T49" fmla="*/ 258 h 290"/>
                <a:gd name="T50" fmla="*/ 52 w 206"/>
                <a:gd name="T51" fmla="*/ 258 h 290"/>
                <a:gd name="T52" fmla="*/ 62 w 206"/>
                <a:gd name="T53" fmla="*/ 260 h 290"/>
                <a:gd name="T54" fmla="*/ 72 w 206"/>
                <a:gd name="T55" fmla="*/ 262 h 290"/>
                <a:gd name="T56" fmla="*/ 90 w 206"/>
                <a:gd name="T57" fmla="*/ 270 h 290"/>
                <a:gd name="T58" fmla="*/ 106 w 206"/>
                <a:gd name="T59" fmla="*/ 280 h 290"/>
                <a:gd name="T60" fmla="*/ 120 w 206"/>
                <a:gd name="T61" fmla="*/ 290 h 290"/>
                <a:gd name="T62" fmla="*/ 120 w 206"/>
                <a:gd name="T63" fmla="*/ 290 h 290"/>
                <a:gd name="T64" fmla="*/ 138 w 206"/>
                <a:gd name="T65" fmla="*/ 274 h 290"/>
                <a:gd name="T66" fmla="*/ 156 w 206"/>
                <a:gd name="T67" fmla="*/ 252 h 290"/>
                <a:gd name="T68" fmla="*/ 174 w 206"/>
                <a:gd name="T69" fmla="*/ 228 h 290"/>
                <a:gd name="T70" fmla="*/ 188 w 206"/>
                <a:gd name="T71" fmla="*/ 198 h 290"/>
                <a:gd name="T72" fmla="*/ 188 w 206"/>
                <a:gd name="T73" fmla="*/ 198 h 290"/>
                <a:gd name="T74" fmla="*/ 198 w 206"/>
                <a:gd name="T75" fmla="*/ 168 h 290"/>
                <a:gd name="T76" fmla="*/ 204 w 206"/>
                <a:gd name="T77" fmla="*/ 138 h 290"/>
                <a:gd name="T78" fmla="*/ 206 w 206"/>
                <a:gd name="T79" fmla="*/ 108 h 290"/>
                <a:gd name="T80" fmla="*/ 204 w 206"/>
                <a:gd name="T81" fmla="*/ 82 h 290"/>
                <a:gd name="T82" fmla="*/ 200 w 206"/>
                <a:gd name="T83" fmla="*/ 56 h 290"/>
                <a:gd name="T84" fmla="*/ 190 w 206"/>
                <a:gd name="T85" fmla="*/ 36 h 290"/>
                <a:gd name="T86" fmla="*/ 184 w 206"/>
                <a:gd name="T87" fmla="*/ 26 h 290"/>
                <a:gd name="T88" fmla="*/ 178 w 206"/>
                <a:gd name="T89" fmla="*/ 18 h 290"/>
                <a:gd name="T90" fmla="*/ 170 w 206"/>
                <a:gd name="T91" fmla="*/ 12 h 290"/>
                <a:gd name="T92" fmla="*/ 162 w 206"/>
                <a:gd name="T93" fmla="*/ 6 h 290"/>
                <a:gd name="T94" fmla="*/ 162 w 206"/>
                <a:gd name="T95" fmla="*/ 6 h 29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6"/>
                <a:gd name="T145" fmla="*/ 0 h 290"/>
                <a:gd name="T146" fmla="*/ 206 w 206"/>
                <a:gd name="T147" fmla="*/ 290 h 29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6" h="290">
                  <a:moveTo>
                    <a:pt x="162" y="6"/>
                  </a:moveTo>
                  <a:lnTo>
                    <a:pt x="162" y="6"/>
                  </a:lnTo>
                  <a:lnTo>
                    <a:pt x="154" y="2"/>
                  </a:lnTo>
                  <a:lnTo>
                    <a:pt x="144" y="0"/>
                  </a:lnTo>
                  <a:lnTo>
                    <a:pt x="134" y="0"/>
                  </a:lnTo>
                  <a:lnTo>
                    <a:pt x="126" y="0"/>
                  </a:lnTo>
                  <a:lnTo>
                    <a:pt x="116" y="2"/>
                  </a:lnTo>
                  <a:lnTo>
                    <a:pt x="106" y="6"/>
                  </a:lnTo>
                  <a:lnTo>
                    <a:pt x="86" y="18"/>
                  </a:lnTo>
                  <a:lnTo>
                    <a:pt x="66" y="34"/>
                  </a:lnTo>
                  <a:lnTo>
                    <a:pt x="48" y="54"/>
                  </a:lnTo>
                  <a:lnTo>
                    <a:pt x="32" y="80"/>
                  </a:lnTo>
                  <a:lnTo>
                    <a:pt x="20" y="108"/>
                  </a:lnTo>
                  <a:lnTo>
                    <a:pt x="12" y="128"/>
                  </a:lnTo>
                  <a:lnTo>
                    <a:pt x="6" y="150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08"/>
                  </a:lnTo>
                  <a:lnTo>
                    <a:pt x="2" y="226"/>
                  </a:lnTo>
                  <a:lnTo>
                    <a:pt x="6" y="244"/>
                  </a:lnTo>
                  <a:lnTo>
                    <a:pt x="10" y="258"/>
                  </a:lnTo>
                  <a:lnTo>
                    <a:pt x="26" y="258"/>
                  </a:lnTo>
                  <a:lnTo>
                    <a:pt x="52" y="258"/>
                  </a:lnTo>
                  <a:lnTo>
                    <a:pt x="62" y="260"/>
                  </a:lnTo>
                  <a:lnTo>
                    <a:pt x="72" y="262"/>
                  </a:lnTo>
                  <a:lnTo>
                    <a:pt x="90" y="270"/>
                  </a:lnTo>
                  <a:lnTo>
                    <a:pt x="106" y="280"/>
                  </a:lnTo>
                  <a:lnTo>
                    <a:pt x="120" y="290"/>
                  </a:lnTo>
                  <a:lnTo>
                    <a:pt x="138" y="274"/>
                  </a:lnTo>
                  <a:lnTo>
                    <a:pt x="156" y="252"/>
                  </a:lnTo>
                  <a:lnTo>
                    <a:pt x="174" y="228"/>
                  </a:lnTo>
                  <a:lnTo>
                    <a:pt x="188" y="198"/>
                  </a:lnTo>
                  <a:lnTo>
                    <a:pt x="198" y="168"/>
                  </a:lnTo>
                  <a:lnTo>
                    <a:pt x="204" y="138"/>
                  </a:lnTo>
                  <a:lnTo>
                    <a:pt x="206" y="108"/>
                  </a:lnTo>
                  <a:lnTo>
                    <a:pt x="204" y="82"/>
                  </a:lnTo>
                  <a:lnTo>
                    <a:pt x="200" y="56"/>
                  </a:lnTo>
                  <a:lnTo>
                    <a:pt x="190" y="36"/>
                  </a:lnTo>
                  <a:lnTo>
                    <a:pt x="184" y="26"/>
                  </a:lnTo>
                  <a:lnTo>
                    <a:pt x="178" y="18"/>
                  </a:lnTo>
                  <a:lnTo>
                    <a:pt x="170" y="12"/>
                  </a:lnTo>
                  <a:lnTo>
                    <a:pt x="162" y="6"/>
                  </a:lnTo>
                  <a:close/>
                </a:path>
              </a:pathLst>
            </a:custGeom>
            <a:solidFill>
              <a:srgbClr val="FF7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43"/>
            <p:cNvSpPr>
              <a:spLocks/>
            </p:cNvSpPr>
            <p:nvPr/>
          </p:nvSpPr>
          <p:spPr bwMode="auto">
            <a:xfrm>
              <a:off x="4636" y="2617"/>
              <a:ext cx="182" cy="266"/>
            </a:xfrm>
            <a:custGeom>
              <a:avLst/>
              <a:gdLst>
                <a:gd name="T0" fmla="*/ 140 w 182"/>
                <a:gd name="T1" fmla="*/ 4 h 266"/>
                <a:gd name="T2" fmla="*/ 140 w 182"/>
                <a:gd name="T3" fmla="*/ 4 h 266"/>
                <a:gd name="T4" fmla="*/ 132 w 182"/>
                <a:gd name="T5" fmla="*/ 2 h 266"/>
                <a:gd name="T6" fmla="*/ 124 w 182"/>
                <a:gd name="T7" fmla="*/ 0 h 266"/>
                <a:gd name="T8" fmla="*/ 116 w 182"/>
                <a:gd name="T9" fmla="*/ 2 h 266"/>
                <a:gd name="T10" fmla="*/ 106 w 182"/>
                <a:gd name="T11" fmla="*/ 2 h 266"/>
                <a:gd name="T12" fmla="*/ 90 w 182"/>
                <a:gd name="T13" fmla="*/ 10 h 266"/>
                <a:gd name="T14" fmla="*/ 72 w 182"/>
                <a:gd name="T15" fmla="*/ 22 h 266"/>
                <a:gd name="T16" fmla="*/ 54 w 182"/>
                <a:gd name="T17" fmla="*/ 38 h 266"/>
                <a:gd name="T18" fmla="*/ 40 w 182"/>
                <a:gd name="T19" fmla="*/ 58 h 266"/>
                <a:gd name="T20" fmla="*/ 26 w 182"/>
                <a:gd name="T21" fmla="*/ 82 h 266"/>
                <a:gd name="T22" fmla="*/ 14 w 182"/>
                <a:gd name="T23" fmla="*/ 108 h 266"/>
                <a:gd name="T24" fmla="*/ 14 w 182"/>
                <a:gd name="T25" fmla="*/ 108 h 266"/>
                <a:gd name="T26" fmla="*/ 8 w 182"/>
                <a:gd name="T27" fmla="*/ 128 h 266"/>
                <a:gd name="T28" fmla="*/ 4 w 182"/>
                <a:gd name="T29" fmla="*/ 146 h 266"/>
                <a:gd name="T30" fmla="*/ 2 w 182"/>
                <a:gd name="T31" fmla="*/ 164 h 266"/>
                <a:gd name="T32" fmla="*/ 0 w 182"/>
                <a:gd name="T33" fmla="*/ 182 h 266"/>
                <a:gd name="T34" fmla="*/ 0 w 182"/>
                <a:gd name="T35" fmla="*/ 198 h 266"/>
                <a:gd name="T36" fmla="*/ 2 w 182"/>
                <a:gd name="T37" fmla="*/ 214 h 266"/>
                <a:gd name="T38" fmla="*/ 6 w 182"/>
                <a:gd name="T39" fmla="*/ 230 h 266"/>
                <a:gd name="T40" fmla="*/ 12 w 182"/>
                <a:gd name="T41" fmla="*/ 242 h 266"/>
                <a:gd name="T42" fmla="*/ 12 w 182"/>
                <a:gd name="T43" fmla="*/ 242 h 266"/>
                <a:gd name="T44" fmla="*/ 40 w 182"/>
                <a:gd name="T45" fmla="*/ 242 h 266"/>
                <a:gd name="T46" fmla="*/ 40 w 182"/>
                <a:gd name="T47" fmla="*/ 242 h 266"/>
                <a:gd name="T48" fmla="*/ 56 w 182"/>
                <a:gd name="T49" fmla="*/ 244 h 266"/>
                <a:gd name="T50" fmla="*/ 70 w 182"/>
                <a:gd name="T51" fmla="*/ 250 h 266"/>
                <a:gd name="T52" fmla="*/ 84 w 182"/>
                <a:gd name="T53" fmla="*/ 256 h 266"/>
                <a:gd name="T54" fmla="*/ 96 w 182"/>
                <a:gd name="T55" fmla="*/ 266 h 266"/>
                <a:gd name="T56" fmla="*/ 96 w 182"/>
                <a:gd name="T57" fmla="*/ 266 h 266"/>
                <a:gd name="T58" fmla="*/ 108 w 182"/>
                <a:gd name="T59" fmla="*/ 258 h 266"/>
                <a:gd name="T60" fmla="*/ 118 w 182"/>
                <a:gd name="T61" fmla="*/ 250 h 266"/>
                <a:gd name="T62" fmla="*/ 128 w 182"/>
                <a:gd name="T63" fmla="*/ 240 h 266"/>
                <a:gd name="T64" fmla="*/ 138 w 182"/>
                <a:gd name="T65" fmla="*/ 228 h 266"/>
                <a:gd name="T66" fmla="*/ 146 w 182"/>
                <a:gd name="T67" fmla="*/ 214 h 266"/>
                <a:gd name="T68" fmla="*/ 154 w 182"/>
                <a:gd name="T69" fmla="*/ 200 h 266"/>
                <a:gd name="T70" fmla="*/ 162 w 182"/>
                <a:gd name="T71" fmla="*/ 184 h 266"/>
                <a:gd name="T72" fmla="*/ 168 w 182"/>
                <a:gd name="T73" fmla="*/ 168 h 266"/>
                <a:gd name="T74" fmla="*/ 168 w 182"/>
                <a:gd name="T75" fmla="*/ 168 h 266"/>
                <a:gd name="T76" fmla="*/ 178 w 182"/>
                <a:gd name="T77" fmla="*/ 140 h 266"/>
                <a:gd name="T78" fmla="*/ 182 w 182"/>
                <a:gd name="T79" fmla="*/ 114 h 266"/>
                <a:gd name="T80" fmla="*/ 182 w 182"/>
                <a:gd name="T81" fmla="*/ 88 h 266"/>
                <a:gd name="T82" fmla="*/ 180 w 182"/>
                <a:gd name="T83" fmla="*/ 64 h 266"/>
                <a:gd name="T84" fmla="*/ 176 w 182"/>
                <a:gd name="T85" fmla="*/ 44 h 266"/>
                <a:gd name="T86" fmla="*/ 166 w 182"/>
                <a:gd name="T87" fmla="*/ 26 h 266"/>
                <a:gd name="T88" fmla="*/ 162 w 182"/>
                <a:gd name="T89" fmla="*/ 20 h 266"/>
                <a:gd name="T90" fmla="*/ 156 w 182"/>
                <a:gd name="T91" fmla="*/ 12 h 266"/>
                <a:gd name="T92" fmla="*/ 148 w 182"/>
                <a:gd name="T93" fmla="*/ 8 h 266"/>
                <a:gd name="T94" fmla="*/ 140 w 182"/>
                <a:gd name="T95" fmla="*/ 4 h 266"/>
                <a:gd name="T96" fmla="*/ 140 w 182"/>
                <a:gd name="T97" fmla="*/ 4 h 26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2"/>
                <a:gd name="T148" fmla="*/ 0 h 266"/>
                <a:gd name="T149" fmla="*/ 182 w 182"/>
                <a:gd name="T150" fmla="*/ 266 h 26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2" h="266">
                  <a:moveTo>
                    <a:pt x="140" y="4"/>
                  </a:moveTo>
                  <a:lnTo>
                    <a:pt x="140" y="4"/>
                  </a:lnTo>
                  <a:lnTo>
                    <a:pt x="132" y="2"/>
                  </a:lnTo>
                  <a:lnTo>
                    <a:pt x="124" y="0"/>
                  </a:lnTo>
                  <a:lnTo>
                    <a:pt x="116" y="2"/>
                  </a:lnTo>
                  <a:lnTo>
                    <a:pt x="106" y="2"/>
                  </a:lnTo>
                  <a:lnTo>
                    <a:pt x="90" y="10"/>
                  </a:lnTo>
                  <a:lnTo>
                    <a:pt x="72" y="22"/>
                  </a:lnTo>
                  <a:lnTo>
                    <a:pt x="54" y="38"/>
                  </a:lnTo>
                  <a:lnTo>
                    <a:pt x="40" y="58"/>
                  </a:lnTo>
                  <a:lnTo>
                    <a:pt x="26" y="82"/>
                  </a:lnTo>
                  <a:lnTo>
                    <a:pt x="14" y="108"/>
                  </a:lnTo>
                  <a:lnTo>
                    <a:pt x="8" y="128"/>
                  </a:lnTo>
                  <a:lnTo>
                    <a:pt x="4" y="146"/>
                  </a:lnTo>
                  <a:lnTo>
                    <a:pt x="2" y="164"/>
                  </a:lnTo>
                  <a:lnTo>
                    <a:pt x="0" y="182"/>
                  </a:lnTo>
                  <a:lnTo>
                    <a:pt x="0" y="198"/>
                  </a:lnTo>
                  <a:lnTo>
                    <a:pt x="2" y="214"/>
                  </a:lnTo>
                  <a:lnTo>
                    <a:pt x="6" y="230"/>
                  </a:lnTo>
                  <a:lnTo>
                    <a:pt x="12" y="242"/>
                  </a:lnTo>
                  <a:lnTo>
                    <a:pt x="40" y="242"/>
                  </a:lnTo>
                  <a:lnTo>
                    <a:pt x="56" y="244"/>
                  </a:lnTo>
                  <a:lnTo>
                    <a:pt x="70" y="250"/>
                  </a:lnTo>
                  <a:lnTo>
                    <a:pt x="84" y="256"/>
                  </a:lnTo>
                  <a:lnTo>
                    <a:pt x="96" y="266"/>
                  </a:lnTo>
                  <a:lnTo>
                    <a:pt x="108" y="258"/>
                  </a:lnTo>
                  <a:lnTo>
                    <a:pt x="118" y="250"/>
                  </a:lnTo>
                  <a:lnTo>
                    <a:pt x="128" y="240"/>
                  </a:lnTo>
                  <a:lnTo>
                    <a:pt x="138" y="228"/>
                  </a:lnTo>
                  <a:lnTo>
                    <a:pt x="146" y="214"/>
                  </a:lnTo>
                  <a:lnTo>
                    <a:pt x="154" y="200"/>
                  </a:lnTo>
                  <a:lnTo>
                    <a:pt x="162" y="184"/>
                  </a:lnTo>
                  <a:lnTo>
                    <a:pt x="168" y="168"/>
                  </a:lnTo>
                  <a:lnTo>
                    <a:pt x="178" y="140"/>
                  </a:lnTo>
                  <a:lnTo>
                    <a:pt x="182" y="114"/>
                  </a:lnTo>
                  <a:lnTo>
                    <a:pt x="182" y="88"/>
                  </a:lnTo>
                  <a:lnTo>
                    <a:pt x="180" y="64"/>
                  </a:lnTo>
                  <a:lnTo>
                    <a:pt x="176" y="44"/>
                  </a:lnTo>
                  <a:lnTo>
                    <a:pt x="166" y="26"/>
                  </a:lnTo>
                  <a:lnTo>
                    <a:pt x="162" y="20"/>
                  </a:lnTo>
                  <a:lnTo>
                    <a:pt x="156" y="12"/>
                  </a:lnTo>
                  <a:lnTo>
                    <a:pt x="148" y="8"/>
                  </a:lnTo>
                  <a:lnTo>
                    <a:pt x="140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244"/>
            <p:cNvSpPr>
              <a:spLocks/>
            </p:cNvSpPr>
            <p:nvPr/>
          </p:nvSpPr>
          <p:spPr bwMode="auto">
            <a:xfrm>
              <a:off x="4648" y="2617"/>
              <a:ext cx="170" cy="186"/>
            </a:xfrm>
            <a:custGeom>
              <a:avLst/>
              <a:gdLst>
                <a:gd name="T0" fmla="*/ 120 w 170"/>
                <a:gd name="T1" fmla="*/ 28 h 186"/>
                <a:gd name="T2" fmla="*/ 120 w 170"/>
                <a:gd name="T3" fmla="*/ 28 h 186"/>
                <a:gd name="T4" fmla="*/ 126 w 170"/>
                <a:gd name="T5" fmla="*/ 32 h 186"/>
                <a:gd name="T6" fmla="*/ 134 w 170"/>
                <a:gd name="T7" fmla="*/ 36 h 186"/>
                <a:gd name="T8" fmla="*/ 140 w 170"/>
                <a:gd name="T9" fmla="*/ 42 h 186"/>
                <a:gd name="T10" fmla="*/ 146 w 170"/>
                <a:gd name="T11" fmla="*/ 48 h 186"/>
                <a:gd name="T12" fmla="*/ 154 w 170"/>
                <a:gd name="T13" fmla="*/ 66 h 186"/>
                <a:gd name="T14" fmla="*/ 160 w 170"/>
                <a:gd name="T15" fmla="*/ 86 h 186"/>
                <a:gd name="T16" fmla="*/ 162 w 170"/>
                <a:gd name="T17" fmla="*/ 108 h 186"/>
                <a:gd name="T18" fmla="*/ 162 w 170"/>
                <a:gd name="T19" fmla="*/ 132 h 186"/>
                <a:gd name="T20" fmla="*/ 158 w 170"/>
                <a:gd name="T21" fmla="*/ 158 h 186"/>
                <a:gd name="T22" fmla="*/ 150 w 170"/>
                <a:gd name="T23" fmla="*/ 186 h 186"/>
                <a:gd name="T24" fmla="*/ 150 w 170"/>
                <a:gd name="T25" fmla="*/ 186 h 186"/>
                <a:gd name="T26" fmla="*/ 156 w 170"/>
                <a:gd name="T27" fmla="*/ 168 h 186"/>
                <a:gd name="T28" fmla="*/ 156 w 170"/>
                <a:gd name="T29" fmla="*/ 168 h 186"/>
                <a:gd name="T30" fmla="*/ 166 w 170"/>
                <a:gd name="T31" fmla="*/ 140 h 186"/>
                <a:gd name="T32" fmla="*/ 170 w 170"/>
                <a:gd name="T33" fmla="*/ 114 h 186"/>
                <a:gd name="T34" fmla="*/ 170 w 170"/>
                <a:gd name="T35" fmla="*/ 88 h 186"/>
                <a:gd name="T36" fmla="*/ 168 w 170"/>
                <a:gd name="T37" fmla="*/ 64 h 186"/>
                <a:gd name="T38" fmla="*/ 164 w 170"/>
                <a:gd name="T39" fmla="*/ 44 h 186"/>
                <a:gd name="T40" fmla="*/ 154 w 170"/>
                <a:gd name="T41" fmla="*/ 26 h 186"/>
                <a:gd name="T42" fmla="*/ 150 w 170"/>
                <a:gd name="T43" fmla="*/ 20 h 186"/>
                <a:gd name="T44" fmla="*/ 144 w 170"/>
                <a:gd name="T45" fmla="*/ 12 h 186"/>
                <a:gd name="T46" fmla="*/ 136 w 170"/>
                <a:gd name="T47" fmla="*/ 8 h 186"/>
                <a:gd name="T48" fmla="*/ 128 w 170"/>
                <a:gd name="T49" fmla="*/ 4 h 186"/>
                <a:gd name="T50" fmla="*/ 128 w 170"/>
                <a:gd name="T51" fmla="*/ 4 h 186"/>
                <a:gd name="T52" fmla="*/ 120 w 170"/>
                <a:gd name="T53" fmla="*/ 2 h 186"/>
                <a:gd name="T54" fmla="*/ 112 w 170"/>
                <a:gd name="T55" fmla="*/ 0 h 186"/>
                <a:gd name="T56" fmla="*/ 104 w 170"/>
                <a:gd name="T57" fmla="*/ 2 h 186"/>
                <a:gd name="T58" fmla="*/ 94 w 170"/>
                <a:gd name="T59" fmla="*/ 2 h 186"/>
                <a:gd name="T60" fmla="*/ 78 w 170"/>
                <a:gd name="T61" fmla="*/ 10 h 186"/>
                <a:gd name="T62" fmla="*/ 60 w 170"/>
                <a:gd name="T63" fmla="*/ 22 h 186"/>
                <a:gd name="T64" fmla="*/ 42 w 170"/>
                <a:gd name="T65" fmla="*/ 38 h 186"/>
                <a:gd name="T66" fmla="*/ 28 w 170"/>
                <a:gd name="T67" fmla="*/ 58 h 186"/>
                <a:gd name="T68" fmla="*/ 14 w 170"/>
                <a:gd name="T69" fmla="*/ 82 h 186"/>
                <a:gd name="T70" fmla="*/ 2 w 170"/>
                <a:gd name="T71" fmla="*/ 108 h 186"/>
                <a:gd name="T72" fmla="*/ 2 w 170"/>
                <a:gd name="T73" fmla="*/ 108 h 186"/>
                <a:gd name="T74" fmla="*/ 0 w 170"/>
                <a:gd name="T75" fmla="*/ 116 h 186"/>
                <a:gd name="T76" fmla="*/ 0 w 170"/>
                <a:gd name="T77" fmla="*/ 116 h 186"/>
                <a:gd name="T78" fmla="*/ 12 w 170"/>
                <a:gd name="T79" fmla="*/ 92 h 186"/>
                <a:gd name="T80" fmla="*/ 26 w 170"/>
                <a:gd name="T81" fmla="*/ 72 h 186"/>
                <a:gd name="T82" fmla="*/ 40 w 170"/>
                <a:gd name="T83" fmla="*/ 56 h 186"/>
                <a:gd name="T84" fmla="*/ 56 w 170"/>
                <a:gd name="T85" fmla="*/ 42 h 186"/>
                <a:gd name="T86" fmla="*/ 72 w 170"/>
                <a:gd name="T87" fmla="*/ 32 h 186"/>
                <a:gd name="T88" fmla="*/ 88 w 170"/>
                <a:gd name="T89" fmla="*/ 26 h 186"/>
                <a:gd name="T90" fmla="*/ 104 w 170"/>
                <a:gd name="T91" fmla="*/ 24 h 186"/>
                <a:gd name="T92" fmla="*/ 112 w 170"/>
                <a:gd name="T93" fmla="*/ 26 h 186"/>
                <a:gd name="T94" fmla="*/ 120 w 170"/>
                <a:gd name="T95" fmla="*/ 28 h 186"/>
                <a:gd name="T96" fmla="*/ 120 w 170"/>
                <a:gd name="T97" fmla="*/ 28 h 1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70"/>
                <a:gd name="T148" fmla="*/ 0 h 186"/>
                <a:gd name="T149" fmla="*/ 170 w 170"/>
                <a:gd name="T150" fmla="*/ 186 h 18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70" h="186">
                  <a:moveTo>
                    <a:pt x="120" y="28"/>
                  </a:moveTo>
                  <a:lnTo>
                    <a:pt x="120" y="28"/>
                  </a:lnTo>
                  <a:lnTo>
                    <a:pt x="126" y="32"/>
                  </a:lnTo>
                  <a:lnTo>
                    <a:pt x="134" y="36"/>
                  </a:lnTo>
                  <a:lnTo>
                    <a:pt x="140" y="42"/>
                  </a:lnTo>
                  <a:lnTo>
                    <a:pt x="146" y="48"/>
                  </a:lnTo>
                  <a:lnTo>
                    <a:pt x="154" y="66"/>
                  </a:lnTo>
                  <a:lnTo>
                    <a:pt x="160" y="86"/>
                  </a:lnTo>
                  <a:lnTo>
                    <a:pt x="162" y="108"/>
                  </a:lnTo>
                  <a:lnTo>
                    <a:pt x="162" y="132"/>
                  </a:lnTo>
                  <a:lnTo>
                    <a:pt x="158" y="158"/>
                  </a:lnTo>
                  <a:lnTo>
                    <a:pt x="150" y="186"/>
                  </a:lnTo>
                  <a:lnTo>
                    <a:pt x="156" y="168"/>
                  </a:lnTo>
                  <a:lnTo>
                    <a:pt x="166" y="140"/>
                  </a:lnTo>
                  <a:lnTo>
                    <a:pt x="170" y="114"/>
                  </a:lnTo>
                  <a:lnTo>
                    <a:pt x="170" y="88"/>
                  </a:lnTo>
                  <a:lnTo>
                    <a:pt x="168" y="64"/>
                  </a:lnTo>
                  <a:lnTo>
                    <a:pt x="164" y="44"/>
                  </a:lnTo>
                  <a:lnTo>
                    <a:pt x="154" y="26"/>
                  </a:lnTo>
                  <a:lnTo>
                    <a:pt x="150" y="20"/>
                  </a:lnTo>
                  <a:lnTo>
                    <a:pt x="144" y="12"/>
                  </a:lnTo>
                  <a:lnTo>
                    <a:pt x="136" y="8"/>
                  </a:lnTo>
                  <a:lnTo>
                    <a:pt x="128" y="4"/>
                  </a:lnTo>
                  <a:lnTo>
                    <a:pt x="120" y="2"/>
                  </a:lnTo>
                  <a:lnTo>
                    <a:pt x="112" y="0"/>
                  </a:lnTo>
                  <a:lnTo>
                    <a:pt x="104" y="2"/>
                  </a:lnTo>
                  <a:lnTo>
                    <a:pt x="94" y="2"/>
                  </a:lnTo>
                  <a:lnTo>
                    <a:pt x="78" y="10"/>
                  </a:lnTo>
                  <a:lnTo>
                    <a:pt x="60" y="22"/>
                  </a:lnTo>
                  <a:lnTo>
                    <a:pt x="42" y="38"/>
                  </a:lnTo>
                  <a:lnTo>
                    <a:pt x="28" y="58"/>
                  </a:lnTo>
                  <a:lnTo>
                    <a:pt x="14" y="82"/>
                  </a:lnTo>
                  <a:lnTo>
                    <a:pt x="2" y="108"/>
                  </a:lnTo>
                  <a:lnTo>
                    <a:pt x="0" y="116"/>
                  </a:lnTo>
                  <a:lnTo>
                    <a:pt x="12" y="92"/>
                  </a:lnTo>
                  <a:lnTo>
                    <a:pt x="26" y="72"/>
                  </a:lnTo>
                  <a:lnTo>
                    <a:pt x="40" y="56"/>
                  </a:lnTo>
                  <a:lnTo>
                    <a:pt x="56" y="42"/>
                  </a:lnTo>
                  <a:lnTo>
                    <a:pt x="72" y="32"/>
                  </a:lnTo>
                  <a:lnTo>
                    <a:pt x="88" y="26"/>
                  </a:lnTo>
                  <a:lnTo>
                    <a:pt x="104" y="24"/>
                  </a:lnTo>
                  <a:lnTo>
                    <a:pt x="112" y="26"/>
                  </a:lnTo>
                  <a:lnTo>
                    <a:pt x="120" y="28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245"/>
            <p:cNvSpPr>
              <a:spLocks/>
            </p:cNvSpPr>
            <p:nvPr/>
          </p:nvSpPr>
          <p:spPr bwMode="auto">
            <a:xfrm>
              <a:off x="4620" y="2855"/>
              <a:ext cx="156" cy="80"/>
            </a:xfrm>
            <a:custGeom>
              <a:avLst/>
              <a:gdLst>
                <a:gd name="T0" fmla="*/ 0 w 156"/>
                <a:gd name="T1" fmla="*/ 6 h 80"/>
                <a:gd name="T2" fmla="*/ 0 w 156"/>
                <a:gd name="T3" fmla="*/ 6 h 80"/>
                <a:gd name="T4" fmla="*/ 18 w 156"/>
                <a:gd name="T5" fmla="*/ 2 h 80"/>
                <a:gd name="T6" fmla="*/ 38 w 156"/>
                <a:gd name="T7" fmla="*/ 0 h 80"/>
                <a:gd name="T8" fmla="*/ 62 w 156"/>
                <a:gd name="T9" fmla="*/ 2 h 80"/>
                <a:gd name="T10" fmla="*/ 74 w 156"/>
                <a:gd name="T11" fmla="*/ 4 h 80"/>
                <a:gd name="T12" fmla="*/ 88 w 156"/>
                <a:gd name="T13" fmla="*/ 8 h 80"/>
                <a:gd name="T14" fmla="*/ 100 w 156"/>
                <a:gd name="T15" fmla="*/ 14 h 80"/>
                <a:gd name="T16" fmla="*/ 114 w 156"/>
                <a:gd name="T17" fmla="*/ 22 h 80"/>
                <a:gd name="T18" fmla="*/ 126 w 156"/>
                <a:gd name="T19" fmla="*/ 32 h 80"/>
                <a:gd name="T20" fmla="*/ 136 w 156"/>
                <a:gd name="T21" fmla="*/ 46 h 80"/>
                <a:gd name="T22" fmla="*/ 146 w 156"/>
                <a:gd name="T23" fmla="*/ 62 h 80"/>
                <a:gd name="T24" fmla="*/ 156 w 156"/>
                <a:gd name="T25" fmla="*/ 80 h 80"/>
                <a:gd name="T26" fmla="*/ 156 w 156"/>
                <a:gd name="T27" fmla="*/ 80 h 80"/>
                <a:gd name="T28" fmla="*/ 148 w 156"/>
                <a:gd name="T29" fmla="*/ 68 h 80"/>
                <a:gd name="T30" fmla="*/ 138 w 156"/>
                <a:gd name="T31" fmla="*/ 56 h 80"/>
                <a:gd name="T32" fmla="*/ 124 w 156"/>
                <a:gd name="T33" fmla="*/ 42 h 80"/>
                <a:gd name="T34" fmla="*/ 114 w 156"/>
                <a:gd name="T35" fmla="*/ 34 h 80"/>
                <a:gd name="T36" fmla="*/ 104 w 156"/>
                <a:gd name="T37" fmla="*/ 28 h 80"/>
                <a:gd name="T38" fmla="*/ 90 w 156"/>
                <a:gd name="T39" fmla="*/ 22 h 80"/>
                <a:gd name="T40" fmla="*/ 76 w 156"/>
                <a:gd name="T41" fmla="*/ 16 h 80"/>
                <a:gd name="T42" fmla="*/ 60 w 156"/>
                <a:gd name="T43" fmla="*/ 12 h 80"/>
                <a:gd name="T44" fmla="*/ 42 w 156"/>
                <a:gd name="T45" fmla="*/ 8 h 80"/>
                <a:gd name="T46" fmla="*/ 22 w 156"/>
                <a:gd name="T47" fmla="*/ 6 h 80"/>
                <a:gd name="T48" fmla="*/ 0 w 156"/>
                <a:gd name="T49" fmla="*/ 6 h 80"/>
                <a:gd name="T50" fmla="*/ 0 w 156"/>
                <a:gd name="T51" fmla="*/ 6 h 8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6"/>
                <a:gd name="T79" fmla="*/ 0 h 80"/>
                <a:gd name="T80" fmla="*/ 156 w 156"/>
                <a:gd name="T81" fmla="*/ 80 h 8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6" h="80">
                  <a:moveTo>
                    <a:pt x="0" y="6"/>
                  </a:moveTo>
                  <a:lnTo>
                    <a:pt x="0" y="6"/>
                  </a:lnTo>
                  <a:lnTo>
                    <a:pt x="18" y="2"/>
                  </a:lnTo>
                  <a:lnTo>
                    <a:pt x="38" y="0"/>
                  </a:lnTo>
                  <a:lnTo>
                    <a:pt x="62" y="2"/>
                  </a:lnTo>
                  <a:lnTo>
                    <a:pt x="74" y="4"/>
                  </a:lnTo>
                  <a:lnTo>
                    <a:pt x="88" y="8"/>
                  </a:lnTo>
                  <a:lnTo>
                    <a:pt x="100" y="14"/>
                  </a:lnTo>
                  <a:lnTo>
                    <a:pt x="114" y="22"/>
                  </a:lnTo>
                  <a:lnTo>
                    <a:pt x="126" y="32"/>
                  </a:lnTo>
                  <a:lnTo>
                    <a:pt x="136" y="46"/>
                  </a:lnTo>
                  <a:lnTo>
                    <a:pt x="146" y="62"/>
                  </a:lnTo>
                  <a:lnTo>
                    <a:pt x="156" y="80"/>
                  </a:lnTo>
                  <a:lnTo>
                    <a:pt x="148" y="68"/>
                  </a:lnTo>
                  <a:lnTo>
                    <a:pt x="138" y="56"/>
                  </a:lnTo>
                  <a:lnTo>
                    <a:pt x="124" y="42"/>
                  </a:lnTo>
                  <a:lnTo>
                    <a:pt x="114" y="34"/>
                  </a:lnTo>
                  <a:lnTo>
                    <a:pt x="104" y="28"/>
                  </a:lnTo>
                  <a:lnTo>
                    <a:pt x="90" y="22"/>
                  </a:lnTo>
                  <a:lnTo>
                    <a:pt x="76" y="16"/>
                  </a:lnTo>
                  <a:lnTo>
                    <a:pt x="60" y="12"/>
                  </a:lnTo>
                  <a:lnTo>
                    <a:pt x="42" y="8"/>
                  </a:lnTo>
                  <a:lnTo>
                    <a:pt x="22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A6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246"/>
            <p:cNvSpPr>
              <a:spLocks/>
            </p:cNvSpPr>
            <p:nvPr/>
          </p:nvSpPr>
          <p:spPr bwMode="auto">
            <a:xfrm>
              <a:off x="4668" y="2709"/>
              <a:ext cx="98" cy="124"/>
            </a:xfrm>
            <a:custGeom>
              <a:avLst/>
              <a:gdLst>
                <a:gd name="T0" fmla="*/ 94 w 98"/>
                <a:gd name="T1" fmla="*/ 80 h 124"/>
                <a:gd name="T2" fmla="*/ 94 w 98"/>
                <a:gd name="T3" fmla="*/ 80 h 124"/>
                <a:gd name="T4" fmla="*/ 88 w 98"/>
                <a:gd name="T5" fmla="*/ 90 h 124"/>
                <a:gd name="T6" fmla="*/ 82 w 98"/>
                <a:gd name="T7" fmla="*/ 100 h 124"/>
                <a:gd name="T8" fmla="*/ 74 w 98"/>
                <a:gd name="T9" fmla="*/ 110 h 124"/>
                <a:gd name="T10" fmla="*/ 64 w 98"/>
                <a:gd name="T11" fmla="*/ 116 h 124"/>
                <a:gd name="T12" fmla="*/ 56 w 98"/>
                <a:gd name="T13" fmla="*/ 122 h 124"/>
                <a:gd name="T14" fmla="*/ 46 w 98"/>
                <a:gd name="T15" fmla="*/ 124 h 124"/>
                <a:gd name="T16" fmla="*/ 36 w 98"/>
                <a:gd name="T17" fmla="*/ 124 h 124"/>
                <a:gd name="T18" fmla="*/ 26 w 98"/>
                <a:gd name="T19" fmla="*/ 122 h 124"/>
                <a:gd name="T20" fmla="*/ 26 w 98"/>
                <a:gd name="T21" fmla="*/ 122 h 124"/>
                <a:gd name="T22" fmla="*/ 18 w 98"/>
                <a:gd name="T23" fmla="*/ 118 h 124"/>
                <a:gd name="T24" fmla="*/ 12 w 98"/>
                <a:gd name="T25" fmla="*/ 110 h 124"/>
                <a:gd name="T26" fmla="*/ 6 w 98"/>
                <a:gd name="T27" fmla="*/ 102 h 124"/>
                <a:gd name="T28" fmla="*/ 2 w 98"/>
                <a:gd name="T29" fmla="*/ 92 h 124"/>
                <a:gd name="T30" fmla="*/ 0 w 98"/>
                <a:gd name="T31" fmla="*/ 82 h 124"/>
                <a:gd name="T32" fmla="*/ 0 w 98"/>
                <a:gd name="T33" fmla="*/ 70 h 124"/>
                <a:gd name="T34" fmla="*/ 2 w 98"/>
                <a:gd name="T35" fmla="*/ 58 h 124"/>
                <a:gd name="T36" fmla="*/ 4 w 98"/>
                <a:gd name="T37" fmla="*/ 46 h 124"/>
                <a:gd name="T38" fmla="*/ 4 w 98"/>
                <a:gd name="T39" fmla="*/ 46 h 124"/>
                <a:gd name="T40" fmla="*/ 10 w 98"/>
                <a:gd name="T41" fmla="*/ 34 h 124"/>
                <a:gd name="T42" fmla="*/ 18 w 98"/>
                <a:gd name="T43" fmla="*/ 24 h 124"/>
                <a:gd name="T44" fmla="*/ 26 w 98"/>
                <a:gd name="T45" fmla="*/ 14 h 124"/>
                <a:gd name="T46" fmla="*/ 34 w 98"/>
                <a:gd name="T47" fmla="*/ 8 h 124"/>
                <a:gd name="T48" fmla="*/ 44 w 98"/>
                <a:gd name="T49" fmla="*/ 4 h 124"/>
                <a:gd name="T50" fmla="*/ 52 w 98"/>
                <a:gd name="T51" fmla="*/ 0 h 124"/>
                <a:gd name="T52" fmla="*/ 62 w 98"/>
                <a:gd name="T53" fmla="*/ 0 h 124"/>
                <a:gd name="T54" fmla="*/ 72 w 98"/>
                <a:gd name="T55" fmla="*/ 2 h 124"/>
                <a:gd name="T56" fmla="*/ 72 w 98"/>
                <a:gd name="T57" fmla="*/ 2 h 124"/>
                <a:gd name="T58" fmla="*/ 80 w 98"/>
                <a:gd name="T59" fmla="*/ 8 h 124"/>
                <a:gd name="T60" fmla="*/ 88 w 98"/>
                <a:gd name="T61" fmla="*/ 14 h 124"/>
                <a:gd name="T62" fmla="*/ 92 w 98"/>
                <a:gd name="T63" fmla="*/ 22 h 124"/>
                <a:gd name="T64" fmla="*/ 96 w 98"/>
                <a:gd name="T65" fmla="*/ 32 h 124"/>
                <a:gd name="T66" fmla="*/ 98 w 98"/>
                <a:gd name="T67" fmla="*/ 42 h 124"/>
                <a:gd name="T68" fmla="*/ 98 w 98"/>
                <a:gd name="T69" fmla="*/ 54 h 124"/>
                <a:gd name="T70" fmla="*/ 98 w 98"/>
                <a:gd name="T71" fmla="*/ 66 h 124"/>
                <a:gd name="T72" fmla="*/ 94 w 98"/>
                <a:gd name="T73" fmla="*/ 80 h 124"/>
                <a:gd name="T74" fmla="*/ 94 w 98"/>
                <a:gd name="T75" fmla="*/ 80 h 12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8"/>
                <a:gd name="T115" fmla="*/ 0 h 124"/>
                <a:gd name="T116" fmla="*/ 98 w 98"/>
                <a:gd name="T117" fmla="*/ 124 h 12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8" h="124">
                  <a:moveTo>
                    <a:pt x="94" y="80"/>
                  </a:moveTo>
                  <a:lnTo>
                    <a:pt x="94" y="80"/>
                  </a:lnTo>
                  <a:lnTo>
                    <a:pt x="88" y="90"/>
                  </a:lnTo>
                  <a:lnTo>
                    <a:pt x="82" y="100"/>
                  </a:lnTo>
                  <a:lnTo>
                    <a:pt x="74" y="110"/>
                  </a:lnTo>
                  <a:lnTo>
                    <a:pt x="64" y="116"/>
                  </a:lnTo>
                  <a:lnTo>
                    <a:pt x="56" y="122"/>
                  </a:lnTo>
                  <a:lnTo>
                    <a:pt x="46" y="124"/>
                  </a:lnTo>
                  <a:lnTo>
                    <a:pt x="36" y="124"/>
                  </a:lnTo>
                  <a:lnTo>
                    <a:pt x="26" y="122"/>
                  </a:lnTo>
                  <a:lnTo>
                    <a:pt x="18" y="118"/>
                  </a:lnTo>
                  <a:lnTo>
                    <a:pt x="12" y="110"/>
                  </a:lnTo>
                  <a:lnTo>
                    <a:pt x="6" y="102"/>
                  </a:lnTo>
                  <a:lnTo>
                    <a:pt x="2" y="92"/>
                  </a:lnTo>
                  <a:lnTo>
                    <a:pt x="0" y="82"/>
                  </a:lnTo>
                  <a:lnTo>
                    <a:pt x="0" y="70"/>
                  </a:lnTo>
                  <a:lnTo>
                    <a:pt x="2" y="58"/>
                  </a:lnTo>
                  <a:lnTo>
                    <a:pt x="4" y="46"/>
                  </a:lnTo>
                  <a:lnTo>
                    <a:pt x="10" y="34"/>
                  </a:lnTo>
                  <a:lnTo>
                    <a:pt x="18" y="24"/>
                  </a:lnTo>
                  <a:lnTo>
                    <a:pt x="26" y="14"/>
                  </a:lnTo>
                  <a:lnTo>
                    <a:pt x="34" y="8"/>
                  </a:lnTo>
                  <a:lnTo>
                    <a:pt x="44" y="4"/>
                  </a:lnTo>
                  <a:lnTo>
                    <a:pt x="52" y="0"/>
                  </a:lnTo>
                  <a:lnTo>
                    <a:pt x="62" y="0"/>
                  </a:lnTo>
                  <a:lnTo>
                    <a:pt x="72" y="2"/>
                  </a:lnTo>
                  <a:lnTo>
                    <a:pt x="80" y="8"/>
                  </a:lnTo>
                  <a:lnTo>
                    <a:pt x="88" y="14"/>
                  </a:lnTo>
                  <a:lnTo>
                    <a:pt x="92" y="22"/>
                  </a:lnTo>
                  <a:lnTo>
                    <a:pt x="96" y="32"/>
                  </a:lnTo>
                  <a:lnTo>
                    <a:pt x="98" y="42"/>
                  </a:lnTo>
                  <a:lnTo>
                    <a:pt x="98" y="54"/>
                  </a:lnTo>
                  <a:lnTo>
                    <a:pt x="98" y="66"/>
                  </a:lnTo>
                  <a:lnTo>
                    <a:pt x="94" y="80"/>
                  </a:lnTo>
                  <a:close/>
                </a:path>
              </a:pathLst>
            </a:custGeom>
            <a:solidFill>
              <a:srgbClr val="203E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247"/>
            <p:cNvSpPr>
              <a:spLocks/>
            </p:cNvSpPr>
            <p:nvPr/>
          </p:nvSpPr>
          <p:spPr bwMode="auto">
            <a:xfrm>
              <a:off x="4678" y="2721"/>
              <a:ext cx="80" cy="100"/>
            </a:xfrm>
            <a:custGeom>
              <a:avLst/>
              <a:gdLst>
                <a:gd name="T0" fmla="*/ 74 w 80"/>
                <a:gd name="T1" fmla="*/ 64 h 100"/>
                <a:gd name="T2" fmla="*/ 74 w 80"/>
                <a:gd name="T3" fmla="*/ 64 h 100"/>
                <a:gd name="T4" fmla="*/ 70 w 80"/>
                <a:gd name="T5" fmla="*/ 74 h 100"/>
                <a:gd name="T6" fmla="*/ 64 w 80"/>
                <a:gd name="T7" fmla="*/ 82 h 100"/>
                <a:gd name="T8" fmla="*/ 58 w 80"/>
                <a:gd name="T9" fmla="*/ 88 h 100"/>
                <a:gd name="T10" fmla="*/ 52 w 80"/>
                <a:gd name="T11" fmla="*/ 94 h 100"/>
                <a:gd name="T12" fmla="*/ 44 w 80"/>
                <a:gd name="T13" fmla="*/ 98 h 100"/>
                <a:gd name="T14" fmla="*/ 36 w 80"/>
                <a:gd name="T15" fmla="*/ 100 h 100"/>
                <a:gd name="T16" fmla="*/ 28 w 80"/>
                <a:gd name="T17" fmla="*/ 100 h 100"/>
                <a:gd name="T18" fmla="*/ 22 w 80"/>
                <a:gd name="T19" fmla="*/ 98 h 100"/>
                <a:gd name="T20" fmla="*/ 22 w 80"/>
                <a:gd name="T21" fmla="*/ 98 h 100"/>
                <a:gd name="T22" fmla="*/ 14 w 80"/>
                <a:gd name="T23" fmla="*/ 94 h 100"/>
                <a:gd name="T24" fmla="*/ 8 w 80"/>
                <a:gd name="T25" fmla="*/ 88 h 100"/>
                <a:gd name="T26" fmla="*/ 4 w 80"/>
                <a:gd name="T27" fmla="*/ 82 h 100"/>
                <a:gd name="T28" fmla="*/ 2 w 80"/>
                <a:gd name="T29" fmla="*/ 74 h 100"/>
                <a:gd name="T30" fmla="*/ 0 w 80"/>
                <a:gd name="T31" fmla="*/ 66 h 100"/>
                <a:gd name="T32" fmla="*/ 0 w 80"/>
                <a:gd name="T33" fmla="*/ 56 h 100"/>
                <a:gd name="T34" fmla="*/ 0 w 80"/>
                <a:gd name="T35" fmla="*/ 46 h 100"/>
                <a:gd name="T36" fmla="*/ 4 w 80"/>
                <a:gd name="T37" fmla="*/ 36 h 100"/>
                <a:gd name="T38" fmla="*/ 4 w 80"/>
                <a:gd name="T39" fmla="*/ 36 h 100"/>
                <a:gd name="T40" fmla="*/ 8 w 80"/>
                <a:gd name="T41" fmla="*/ 28 h 100"/>
                <a:gd name="T42" fmla="*/ 14 w 80"/>
                <a:gd name="T43" fmla="*/ 20 h 100"/>
                <a:gd name="T44" fmla="*/ 20 w 80"/>
                <a:gd name="T45" fmla="*/ 12 h 100"/>
                <a:gd name="T46" fmla="*/ 28 w 80"/>
                <a:gd name="T47" fmla="*/ 6 h 100"/>
                <a:gd name="T48" fmla="*/ 34 w 80"/>
                <a:gd name="T49" fmla="*/ 4 h 100"/>
                <a:gd name="T50" fmla="*/ 42 w 80"/>
                <a:gd name="T51" fmla="*/ 2 h 100"/>
                <a:gd name="T52" fmla="*/ 50 w 80"/>
                <a:gd name="T53" fmla="*/ 0 h 100"/>
                <a:gd name="T54" fmla="*/ 58 w 80"/>
                <a:gd name="T55" fmla="*/ 2 h 100"/>
                <a:gd name="T56" fmla="*/ 58 w 80"/>
                <a:gd name="T57" fmla="*/ 2 h 100"/>
                <a:gd name="T58" fmla="*/ 64 w 80"/>
                <a:gd name="T59" fmla="*/ 6 h 100"/>
                <a:gd name="T60" fmla="*/ 70 w 80"/>
                <a:gd name="T61" fmla="*/ 12 h 100"/>
                <a:gd name="T62" fmla="*/ 74 w 80"/>
                <a:gd name="T63" fmla="*/ 18 h 100"/>
                <a:gd name="T64" fmla="*/ 78 w 80"/>
                <a:gd name="T65" fmla="*/ 26 h 100"/>
                <a:gd name="T66" fmla="*/ 78 w 80"/>
                <a:gd name="T67" fmla="*/ 34 h 100"/>
                <a:gd name="T68" fmla="*/ 80 w 80"/>
                <a:gd name="T69" fmla="*/ 44 h 100"/>
                <a:gd name="T70" fmla="*/ 78 w 80"/>
                <a:gd name="T71" fmla="*/ 54 h 100"/>
                <a:gd name="T72" fmla="*/ 74 w 80"/>
                <a:gd name="T73" fmla="*/ 64 h 100"/>
                <a:gd name="T74" fmla="*/ 74 w 80"/>
                <a:gd name="T75" fmla="*/ 64 h 1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0"/>
                <a:gd name="T115" fmla="*/ 0 h 100"/>
                <a:gd name="T116" fmla="*/ 80 w 80"/>
                <a:gd name="T117" fmla="*/ 100 h 1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0" h="100">
                  <a:moveTo>
                    <a:pt x="74" y="64"/>
                  </a:moveTo>
                  <a:lnTo>
                    <a:pt x="74" y="64"/>
                  </a:lnTo>
                  <a:lnTo>
                    <a:pt x="70" y="74"/>
                  </a:lnTo>
                  <a:lnTo>
                    <a:pt x="64" y="82"/>
                  </a:lnTo>
                  <a:lnTo>
                    <a:pt x="58" y="88"/>
                  </a:lnTo>
                  <a:lnTo>
                    <a:pt x="52" y="94"/>
                  </a:lnTo>
                  <a:lnTo>
                    <a:pt x="44" y="98"/>
                  </a:lnTo>
                  <a:lnTo>
                    <a:pt x="36" y="100"/>
                  </a:lnTo>
                  <a:lnTo>
                    <a:pt x="28" y="100"/>
                  </a:lnTo>
                  <a:lnTo>
                    <a:pt x="22" y="98"/>
                  </a:lnTo>
                  <a:lnTo>
                    <a:pt x="14" y="94"/>
                  </a:lnTo>
                  <a:lnTo>
                    <a:pt x="8" y="88"/>
                  </a:lnTo>
                  <a:lnTo>
                    <a:pt x="4" y="82"/>
                  </a:lnTo>
                  <a:lnTo>
                    <a:pt x="2" y="74"/>
                  </a:lnTo>
                  <a:lnTo>
                    <a:pt x="0" y="66"/>
                  </a:lnTo>
                  <a:lnTo>
                    <a:pt x="0" y="56"/>
                  </a:lnTo>
                  <a:lnTo>
                    <a:pt x="0" y="46"/>
                  </a:lnTo>
                  <a:lnTo>
                    <a:pt x="4" y="36"/>
                  </a:lnTo>
                  <a:lnTo>
                    <a:pt x="8" y="28"/>
                  </a:lnTo>
                  <a:lnTo>
                    <a:pt x="14" y="20"/>
                  </a:lnTo>
                  <a:lnTo>
                    <a:pt x="20" y="12"/>
                  </a:lnTo>
                  <a:lnTo>
                    <a:pt x="28" y="6"/>
                  </a:lnTo>
                  <a:lnTo>
                    <a:pt x="34" y="4"/>
                  </a:lnTo>
                  <a:lnTo>
                    <a:pt x="42" y="2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4" y="6"/>
                  </a:lnTo>
                  <a:lnTo>
                    <a:pt x="70" y="12"/>
                  </a:lnTo>
                  <a:lnTo>
                    <a:pt x="74" y="18"/>
                  </a:lnTo>
                  <a:lnTo>
                    <a:pt x="78" y="26"/>
                  </a:lnTo>
                  <a:lnTo>
                    <a:pt x="78" y="34"/>
                  </a:lnTo>
                  <a:lnTo>
                    <a:pt x="80" y="44"/>
                  </a:lnTo>
                  <a:lnTo>
                    <a:pt x="78" y="54"/>
                  </a:lnTo>
                  <a:lnTo>
                    <a:pt x="74" y="64"/>
                  </a:lnTo>
                  <a:close/>
                </a:path>
              </a:pathLst>
            </a:custGeom>
            <a:solidFill>
              <a:srgbClr val="3261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248"/>
            <p:cNvSpPr>
              <a:spLocks/>
            </p:cNvSpPr>
            <p:nvPr/>
          </p:nvSpPr>
          <p:spPr bwMode="auto">
            <a:xfrm>
              <a:off x="4690" y="2743"/>
              <a:ext cx="52" cy="60"/>
            </a:xfrm>
            <a:custGeom>
              <a:avLst/>
              <a:gdLst>
                <a:gd name="T0" fmla="*/ 50 w 52"/>
                <a:gd name="T1" fmla="*/ 38 h 60"/>
                <a:gd name="T2" fmla="*/ 50 w 52"/>
                <a:gd name="T3" fmla="*/ 38 h 60"/>
                <a:gd name="T4" fmla="*/ 44 w 52"/>
                <a:gd name="T5" fmla="*/ 50 h 60"/>
                <a:gd name="T6" fmla="*/ 36 w 52"/>
                <a:gd name="T7" fmla="*/ 58 h 60"/>
                <a:gd name="T8" fmla="*/ 26 w 52"/>
                <a:gd name="T9" fmla="*/ 60 h 60"/>
                <a:gd name="T10" fmla="*/ 20 w 52"/>
                <a:gd name="T11" fmla="*/ 60 h 60"/>
                <a:gd name="T12" fmla="*/ 16 w 52"/>
                <a:gd name="T13" fmla="*/ 60 h 60"/>
                <a:gd name="T14" fmla="*/ 16 w 52"/>
                <a:gd name="T15" fmla="*/ 60 h 60"/>
                <a:gd name="T16" fmla="*/ 10 w 52"/>
                <a:gd name="T17" fmla="*/ 58 h 60"/>
                <a:gd name="T18" fmla="*/ 8 w 52"/>
                <a:gd name="T19" fmla="*/ 54 h 60"/>
                <a:gd name="T20" fmla="*/ 2 w 52"/>
                <a:gd name="T21" fmla="*/ 44 h 60"/>
                <a:gd name="T22" fmla="*/ 0 w 52"/>
                <a:gd name="T23" fmla="*/ 34 h 60"/>
                <a:gd name="T24" fmla="*/ 4 w 52"/>
                <a:gd name="T25" fmla="*/ 22 h 60"/>
                <a:gd name="T26" fmla="*/ 4 w 52"/>
                <a:gd name="T27" fmla="*/ 22 h 60"/>
                <a:gd name="T28" fmla="*/ 10 w 52"/>
                <a:gd name="T29" fmla="*/ 10 h 60"/>
                <a:gd name="T30" fmla="*/ 18 w 52"/>
                <a:gd name="T31" fmla="*/ 4 h 60"/>
                <a:gd name="T32" fmla="*/ 28 w 52"/>
                <a:gd name="T33" fmla="*/ 0 h 60"/>
                <a:gd name="T34" fmla="*/ 32 w 52"/>
                <a:gd name="T35" fmla="*/ 0 h 60"/>
                <a:gd name="T36" fmla="*/ 38 w 52"/>
                <a:gd name="T37" fmla="*/ 0 h 60"/>
                <a:gd name="T38" fmla="*/ 38 w 52"/>
                <a:gd name="T39" fmla="*/ 0 h 60"/>
                <a:gd name="T40" fmla="*/ 42 w 52"/>
                <a:gd name="T41" fmla="*/ 4 h 60"/>
                <a:gd name="T42" fmla="*/ 46 w 52"/>
                <a:gd name="T43" fmla="*/ 6 h 60"/>
                <a:gd name="T44" fmla="*/ 50 w 52"/>
                <a:gd name="T45" fmla="*/ 16 h 60"/>
                <a:gd name="T46" fmla="*/ 52 w 52"/>
                <a:gd name="T47" fmla="*/ 26 h 60"/>
                <a:gd name="T48" fmla="*/ 50 w 52"/>
                <a:gd name="T49" fmla="*/ 38 h 60"/>
                <a:gd name="T50" fmla="*/ 50 w 52"/>
                <a:gd name="T51" fmla="*/ 38 h 6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2"/>
                <a:gd name="T79" fmla="*/ 0 h 60"/>
                <a:gd name="T80" fmla="*/ 52 w 52"/>
                <a:gd name="T81" fmla="*/ 60 h 6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2" h="60">
                  <a:moveTo>
                    <a:pt x="50" y="38"/>
                  </a:moveTo>
                  <a:lnTo>
                    <a:pt x="50" y="38"/>
                  </a:lnTo>
                  <a:lnTo>
                    <a:pt x="44" y="50"/>
                  </a:lnTo>
                  <a:lnTo>
                    <a:pt x="36" y="58"/>
                  </a:lnTo>
                  <a:lnTo>
                    <a:pt x="2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0" y="58"/>
                  </a:lnTo>
                  <a:lnTo>
                    <a:pt x="8" y="54"/>
                  </a:lnTo>
                  <a:lnTo>
                    <a:pt x="2" y="44"/>
                  </a:lnTo>
                  <a:lnTo>
                    <a:pt x="0" y="34"/>
                  </a:lnTo>
                  <a:lnTo>
                    <a:pt x="4" y="22"/>
                  </a:lnTo>
                  <a:lnTo>
                    <a:pt x="10" y="10"/>
                  </a:lnTo>
                  <a:lnTo>
                    <a:pt x="18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2" y="4"/>
                  </a:lnTo>
                  <a:lnTo>
                    <a:pt x="46" y="6"/>
                  </a:lnTo>
                  <a:lnTo>
                    <a:pt x="50" y="16"/>
                  </a:lnTo>
                  <a:lnTo>
                    <a:pt x="52" y="26"/>
                  </a:lnTo>
                  <a:lnTo>
                    <a:pt x="50" y="3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249"/>
            <p:cNvSpPr>
              <a:spLocks/>
            </p:cNvSpPr>
            <p:nvPr/>
          </p:nvSpPr>
          <p:spPr bwMode="auto">
            <a:xfrm>
              <a:off x="4704" y="2737"/>
              <a:ext cx="18" cy="24"/>
            </a:xfrm>
            <a:custGeom>
              <a:avLst/>
              <a:gdLst>
                <a:gd name="T0" fmla="*/ 18 w 18"/>
                <a:gd name="T1" fmla="*/ 14 h 24"/>
                <a:gd name="T2" fmla="*/ 18 w 18"/>
                <a:gd name="T3" fmla="*/ 14 h 24"/>
                <a:gd name="T4" fmla="*/ 16 w 18"/>
                <a:gd name="T5" fmla="*/ 18 h 24"/>
                <a:gd name="T6" fmla="*/ 14 w 18"/>
                <a:gd name="T7" fmla="*/ 22 h 24"/>
                <a:gd name="T8" fmla="*/ 10 w 18"/>
                <a:gd name="T9" fmla="*/ 24 h 24"/>
                <a:gd name="T10" fmla="*/ 6 w 18"/>
                <a:gd name="T11" fmla="*/ 24 h 24"/>
                <a:gd name="T12" fmla="*/ 6 w 18"/>
                <a:gd name="T13" fmla="*/ 24 h 24"/>
                <a:gd name="T14" fmla="*/ 2 w 18"/>
                <a:gd name="T15" fmla="*/ 22 h 24"/>
                <a:gd name="T16" fmla="*/ 0 w 18"/>
                <a:gd name="T17" fmla="*/ 18 h 24"/>
                <a:gd name="T18" fmla="*/ 0 w 18"/>
                <a:gd name="T19" fmla="*/ 14 h 24"/>
                <a:gd name="T20" fmla="*/ 0 w 18"/>
                <a:gd name="T21" fmla="*/ 10 h 24"/>
                <a:gd name="T22" fmla="*/ 0 w 18"/>
                <a:gd name="T23" fmla="*/ 10 h 24"/>
                <a:gd name="T24" fmla="*/ 2 w 18"/>
                <a:gd name="T25" fmla="*/ 6 h 24"/>
                <a:gd name="T26" fmla="*/ 4 w 18"/>
                <a:gd name="T27" fmla="*/ 2 h 24"/>
                <a:gd name="T28" fmla="*/ 8 w 18"/>
                <a:gd name="T29" fmla="*/ 0 h 24"/>
                <a:gd name="T30" fmla="*/ 12 w 18"/>
                <a:gd name="T31" fmla="*/ 0 h 24"/>
                <a:gd name="T32" fmla="*/ 12 w 18"/>
                <a:gd name="T33" fmla="*/ 0 h 24"/>
                <a:gd name="T34" fmla="*/ 16 w 18"/>
                <a:gd name="T35" fmla="*/ 2 h 24"/>
                <a:gd name="T36" fmla="*/ 18 w 18"/>
                <a:gd name="T37" fmla="*/ 4 h 24"/>
                <a:gd name="T38" fmla="*/ 18 w 18"/>
                <a:gd name="T39" fmla="*/ 10 h 24"/>
                <a:gd name="T40" fmla="*/ 18 w 18"/>
                <a:gd name="T41" fmla="*/ 14 h 24"/>
                <a:gd name="T42" fmla="*/ 18 w 18"/>
                <a:gd name="T43" fmla="*/ 14 h 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24"/>
                <a:gd name="T68" fmla="*/ 18 w 18"/>
                <a:gd name="T69" fmla="*/ 24 h 2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24">
                  <a:moveTo>
                    <a:pt x="18" y="14"/>
                  </a:moveTo>
                  <a:lnTo>
                    <a:pt x="18" y="14"/>
                  </a:lnTo>
                  <a:lnTo>
                    <a:pt x="16" y="18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10"/>
                  </a:lnTo>
                  <a:lnTo>
                    <a:pt x="18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250"/>
            <p:cNvSpPr>
              <a:spLocks/>
            </p:cNvSpPr>
            <p:nvPr/>
          </p:nvSpPr>
          <p:spPr bwMode="auto">
            <a:xfrm>
              <a:off x="4722" y="2789"/>
              <a:ext cx="12" cy="12"/>
            </a:xfrm>
            <a:custGeom>
              <a:avLst/>
              <a:gdLst>
                <a:gd name="T0" fmla="*/ 6 w 12"/>
                <a:gd name="T1" fmla="*/ 0 h 12"/>
                <a:gd name="T2" fmla="*/ 6 w 12"/>
                <a:gd name="T3" fmla="*/ 0 h 12"/>
                <a:gd name="T4" fmla="*/ 10 w 12"/>
                <a:gd name="T5" fmla="*/ 2 h 12"/>
                <a:gd name="T6" fmla="*/ 12 w 12"/>
                <a:gd name="T7" fmla="*/ 6 h 12"/>
                <a:gd name="T8" fmla="*/ 12 w 12"/>
                <a:gd name="T9" fmla="*/ 6 h 12"/>
                <a:gd name="T10" fmla="*/ 10 w 12"/>
                <a:gd name="T11" fmla="*/ 10 h 12"/>
                <a:gd name="T12" fmla="*/ 4 w 12"/>
                <a:gd name="T13" fmla="*/ 12 h 12"/>
                <a:gd name="T14" fmla="*/ 4 w 12"/>
                <a:gd name="T15" fmla="*/ 12 h 12"/>
                <a:gd name="T16" fmla="*/ 0 w 12"/>
                <a:gd name="T17" fmla="*/ 10 h 12"/>
                <a:gd name="T18" fmla="*/ 0 w 12"/>
                <a:gd name="T19" fmla="*/ 6 h 12"/>
                <a:gd name="T20" fmla="*/ 0 w 12"/>
                <a:gd name="T21" fmla="*/ 6 h 12"/>
                <a:gd name="T22" fmla="*/ 2 w 12"/>
                <a:gd name="T23" fmla="*/ 2 h 12"/>
                <a:gd name="T24" fmla="*/ 6 w 12"/>
                <a:gd name="T25" fmla="*/ 0 h 12"/>
                <a:gd name="T26" fmla="*/ 6 w 12"/>
                <a:gd name="T27" fmla="*/ 0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2"/>
                <a:gd name="T44" fmla="*/ 12 w 12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10" y="2"/>
                  </a:lnTo>
                  <a:lnTo>
                    <a:pt x="12" y="6"/>
                  </a:lnTo>
                  <a:lnTo>
                    <a:pt x="10" y="10"/>
                  </a:lnTo>
                  <a:lnTo>
                    <a:pt x="4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251"/>
            <p:cNvSpPr>
              <a:spLocks/>
            </p:cNvSpPr>
            <p:nvPr/>
          </p:nvSpPr>
          <p:spPr bwMode="auto">
            <a:xfrm>
              <a:off x="4330" y="2797"/>
              <a:ext cx="140" cy="84"/>
            </a:xfrm>
            <a:custGeom>
              <a:avLst/>
              <a:gdLst>
                <a:gd name="T0" fmla="*/ 76 w 140"/>
                <a:gd name="T1" fmla="*/ 0 h 84"/>
                <a:gd name="T2" fmla="*/ 76 w 140"/>
                <a:gd name="T3" fmla="*/ 0 h 84"/>
                <a:gd name="T4" fmla="*/ 90 w 140"/>
                <a:gd name="T5" fmla="*/ 4 h 84"/>
                <a:gd name="T6" fmla="*/ 104 w 140"/>
                <a:gd name="T7" fmla="*/ 8 h 84"/>
                <a:gd name="T8" fmla="*/ 114 w 140"/>
                <a:gd name="T9" fmla="*/ 14 h 84"/>
                <a:gd name="T10" fmla="*/ 124 w 140"/>
                <a:gd name="T11" fmla="*/ 20 h 84"/>
                <a:gd name="T12" fmla="*/ 132 w 140"/>
                <a:gd name="T13" fmla="*/ 28 h 84"/>
                <a:gd name="T14" fmla="*/ 138 w 140"/>
                <a:gd name="T15" fmla="*/ 36 h 84"/>
                <a:gd name="T16" fmla="*/ 140 w 140"/>
                <a:gd name="T17" fmla="*/ 44 h 84"/>
                <a:gd name="T18" fmla="*/ 140 w 140"/>
                <a:gd name="T19" fmla="*/ 52 h 84"/>
                <a:gd name="T20" fmla="*/ 140 w 140"/>
                <a:gd name="T21" fmla="*/ 52 h 84"/>
                <a:gd name="T22" fmla="*/ 138 w 140"/>
                <a:gd name="T23" fmla="*/ 60 h 84"/>
                <a:gd name="T24" fmla="*/ 132 w 140"/>
                <a:gd name="T25" fmla="*/ 68 h 84"/>
                <a:gd name="T26" fmla="*/ 126 w 140"/>
                <a:gd name="T27" fmla="*/ 74 h 84"/>
                <a:gd name="T28" fmla="*/ 116 w 140"/>
                <a:gd name="T29" fmla="*/ 78 h 84"/>
                <a:gd name="T30" fmla="*/ 104 w 140"/>
                <a:gd name="T31" fmla="*/ 82 h 84"/>
                <a:gd name="T32" fmla="*/ 92 w 140"/>
                <a:gd name="T33" fmla="*/ 84 h 84"/>
                <a:gd name="T34" fmla="*/ 78 w 140"/>
                <a:gd name="T35" fmla="*/ 84 h 84"/>
                <a:gd name="T36" fmla="*/ 64 w 140"/>
                <a:gd name="T37" fmla="*/ 84 h 84"/>
                <a:gd name="T38" fmla="*/ 64 w 140"/>
                <a:gd name="T39" fmla="*/ 84 h 84"/>
                <a:gd name="T40" fmla="*/ 50 w 140"/>
                <a:gd name="T41" fmla="*/ 80 h 84"/>
                <a:gd name="T42" fmla="*/ 38 w 140"/>
                <a:gd name="T43" fmla="*/ 76 h 84"/>
                <a:gd name="T44" fmla="*/ 26 w 140"/>
                <a:gd name="T45" fmla="*/ 70 h 84"/>
                <a:gd name="T46" fmla="*/ 16 w 140"/>
                <a:gd name="T47" fmla="*/ 64 h 84"/>
                <a:gd name="T48" fmla="*/ 8 w 140"/>
                <a:gd name="T49" fmla="*/ 56 h 84"/>
                <a:gd name="T50" fmla="*/ 2 w 140"/>
                <a:gd name="T51" fmla="*/ 48 h 84"/>
                <a:gd name="T52" fmla="*/ 0 w 140"/>
                <a:gd name="T53" fmla="*/ 40 h 84"/>
                <a:gd name="T54" fmla="*/ 0 w 140"/>
                <a:gd name="T55" fmla="*/ 32 h 84"/>
                <a:gd name="T56" fmla="*/ 0 w 140"/>
                <a:gd name="T57" fmla="*/ 32 h 84"/>
                <a:gd name="T58" fmla="*/ 2 w 140"/>
                <a:gd name="T59" fmla="*/ 24 h 84"/>
                <a:gd name="T60" fmla="*/ 8 w 140"/>
                <a:gd name="T61" fmla="*/ 16 h 84"/>
                <a:gd name="T62" fmla="*/ 16 w 140"/>
                <a:gd name="T63" fmla="*/ 10 h 84"/>
                <a:gd name="T64" fmla="*/ 24 w 140"/>
                <a:gd name="T65" fmla="*/ 6 h 84"/>
                <a:gd name="T66" fmla="*/ 36 w 140"/>
                <a:gd name="T67" fmla="*/ 2 h 84"/>
                <a:gd name="T68" fmla="*/ 48 w 140"/>
                <a:gd name="T69" fmla="*/ 0 h 84"/>
                <a:gd name="T70" fmla="*/ 62 w 140"/>
                <a:gd name="T71" fmla="*/ 0 h 84"/>
                <a:gd name="T72" fmla="*/ 76 w 140"/>
                <a:gd name="T73" fmla="*/ 0 h 84"/>
                <a:gd name="T74" fmla="*/ 76 w 140"/>
                <a:gd name="T75" fmla="*/ 0 h 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0"/>
                <a:gd name="T115" fmla="*/ 0 h 84"/>
                <a:gd name="T116" fmla="*/ 140 w 140"/>
                <a:gd name="T117" fmla="*/ 84 h 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0" h="84">
                  <a:moveTo>
                    <a:pt x="76" y="0"/>
                  </a:moveTo>
                  <a:lnTo>
                    <a:pt x="76" y="0"/>
                  </a:lnTo>
                  <a:lnTo>
                    <a:pt x="90" y="4"/>
                  </a:lnTo>
                  <a:lnTo>
                    <a:pt x="104" y="8"/>
                  </a:lnTo>
                  <a:lnTo>
                    <a:pt x="114" y="14"/>
                  </a:lnTo>
                  <a:lnTo>
                    <a:pt x="124" y="20"/>
                  </a:lnTo>
                  <a:lnTo>
                    <a:pt x="132" y="28"/>
                  </a:lnTo>
                  <a:lnTo>
                    <a:pt x="138" y="36"/>
                  </a:lnTo>
                  <a:lnTo>
                    <a:pt x="140" y="44"/>
                  </a:lnTo>
                  <a:lnTo>
                    <a:pt x="140" y="52"/>
                  </a:lnTo>
                  <a:lnTo>
                    <a:pt x="138" y="60"/>
                  </a:lnTo>
                  <a:lnTo>
                    <a:pt x="132" y="68"/>
                  </a:lnTo>
                  <a:lnTo>
                    <a:pt x="126" y="74"/>
                  </a:lnTo>
                  <a:lnTo>
                    <a:pt x="116" y="78"/>
                  </a:lnTo>
                  <a:lnTo>
                    <a:pt x="104" y="82"/>
                  </a:lnTo>
                  <a:lnTo>
                    <a:pt x="92" y="84"/>
                  </a:lnTo>
                  <a:lnTo>
                    <a:pt x="78" y="84"/>
                  </a:lnTo>
                  <a:lnTo>
                    <a:pt x="64" y="84"/>
                  </a:lnTo>
                  <a:lnTo>
                    <a:pt x="50" y="80"/>
                  </a:lnTo>
                  <a:lnTo>
                    <a:pt x="38" y="76"/>
                  </a:lnTo>
                  <a:lnTo>
                    <a:pt x="26" y="70"/>
                  </a:lnTo>
                  <a:lnTo>
                    <a:pt x="16" y="64"/>
                  </a:lnTo>
                  <a:lnTo>
                    <a:pt x="8" y="56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8" y="16"/>
                  </a:lnTo>
                  <a:lnTo>
                    <a:pt x="16" y="10"/>
                  </a:lnTo>
                  <a:lnTo>
                    <a:pt x="24" y="6"/>
                  </a:lnTo>
                  <a:lnTo>
                    <a:pt x="36" y="2"/>
                  </a:lnTo>
                  <a:lnTo>
                    <a:pt x="48" y="0"/>
                  </a:lnTo>
                  <a:lnTo>
                    <a:pt x="62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7F71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252"/>
            <p:cNvSpPr>
              <a:spLocks/>
            </p:cNvSpPr>
            <p:nvPr/>
          </p:nvSpPr>
          <p:spPr bwMode="auto">
            <a:xfrm>
              <a:off x="4332" y="2797"/>
              <a:ext cx="136" cy="82"/>
            </a:xfrm>
            <a:custGeom>
              <a:avLst/>
              <a:gdLst>
                <a:gd name="T0" fmla="*/ 74 w 136"/>
                <a:gd name="T1" fmla="*/ 2 h 82"/>
                <a:gd name="T2" fmla="*/ 74 w 136"/>
                <a:gd name="T3" fmla="*/ 2 h 82"/>
                <a:gd name="T4" fmla="*/ 88 w 136"/>
                <a:gd name="T5" fmla="*/ 4 h 82"/>
                <a:gd name="T6" fmla="*/ 100 w 136"/>
                <a:gd name="T7" fmla="*/ 8 h 82"/>
                <a:gd name="T8" fmla="*/ 112 w 136"/>
                <a:gd name="T9" fmla="*/ 14 h 82"/>
                <a:gd name="T10" fmla="*/ 120 w 136"/>
                <a:gd name="T11" fmla="*/ 20 h 82"/>
                <a:gd name="T12" fmla="*/ 128 w 136"/>
                <a:gd name="T13" fmla="*/ 28 h 82"/>
                <a:gd name="T14" fmla="*/ 134 w 136"/>
                <a:gd name="T15" fmla="*/ 36 h 82"/>
                <a:gd name="T16" fmla="*/ 136 w 136"/>
                <a:gd name="T17" fmla="*/ 44 h 82"/>
                <a:gd name="T18" fmla="*/ 136 w 136"/>
                <a:gd name="T19" fmla="*/ 52 h 82"/>
                <a:gd name="T20" fmla="*/ 136 w 136"/>
                <a:gd name="T21" fmla="*/ 52 h 82"/>
                <a:gd name="T22" fmla="*/ 134 w 136"/>
                <a:gd name="T23" fmla="*/ 60 h 82"/>
                <a:gd name="T24" fmla="*/ 130 w 136"/>
                <a:gd name="T25" fmla="*/ 66 h 82"/>
                <a:gd name="T26" fmla="*/ 122 w 136"/>
                <a:gd name="T27" fmla="*/ 72 h 82"/>
                <a:gd name="T28" fmla="*/ 112 w 136"/>
                <a:gd name="T29" fmla="*/ 76 h 82"/>
                <a:gd name="T30" fmla="*/ 102 w 136"/>
                <a:gd name="T31" fmla="*/ 80 h 82"/>
                <a:gd name="T32" fmla="*/ 90 w 136"/>
                <a:gd name="T33" fmla="*/ 82 h 82"/>
                <a:gd name="T34" fmla="*/ 76 w 136"/>
                <a:gd name="T35" fmla="*/ 82 h 82"/>
                <a:gd name="T36" fmla="*/ 62 w 136"/>
                <a:gd name="T37" fmla="*/ 82 h 82"/>
                <a:gd name="T38" fmla="*/ 62 w 136"/>
                <a:gd name="T39" fmla="*/ 82 h 82"/>
                <a:gd name="T40" fmla="*/ 48 w 136"/>
                <a:gd name="T41" fmla="*/ 78 h 82"/>
                <a:gd name="T42" fmla="*/ 36 w 136"/>
                <a:gd name="T43" fmla="*/ 74 h 82"/>
                <a:gd name="T44" fmla="*/ 26 w 136"/>
                <a:gd name="T45" fmla="*/ 70 h 82"/>
                <a:gd name="T46" fmla="*/ 16 w 136"/>
                <a:gd name="T47" fmla="*/ 62 h 82"/>
                <a:gd name="T48" fmla="*/ 8 w 136"/>
                <a:gd name="T49" fmla="*/ 56 h 82"/>
                <a:gd name="T50" fmla="*/ 2 w 136"/>
                <a:gd name="T51" fmla="*/ 48 h 82"/>
                <a:gd name="T52" fmla="*/ 0 w 136"/>
                <a:gd name="T53" fmla="*/ 40 h 82"/>
                <a:gd name="T54" fmla="*/ 0 w 136"/>
                <a:gd name="T55" fmla="*/ 32 h 82"/>
                <a:gd name="T56" fmla="*/ 0 w 136"/>
                <a:gd name="T57" fmla="*/ 32 h 82"/>
                <a:gd name="T58" fmla="*/ 2 w 136"/>
                <a:gd name="T59" fmla="*/ 24 h 82"/>
                <a:gd name="T60" fmla="*/ 8 w 136"/>
                <a:gd name="T61" fmla="*/ 16 h 82"/>
                <a:gd name="T62" fmla="*/ 14 w 136"/>
                <a:gd name="T63" fmla="*/ 10 h 82"/>
                <a:gd name="T64" fmla="*/ 24 w 136"/>
                <a:gd name="T65" fmla="*/ 6 h 82"/>
                <a:gd name="T66" fmla="*/ 34 w 136"/>
                <a:gd name="T67" fmla="*/ 2 h 82"/>
                <a:gd name="T68" fmla="*/ 48 w 136"/>
                <a:gd name="T69" fmla="*/ 0 h 82"/>
                <a:gd name="T70" fmla="*/ 60 w 136"/>
                <a:gd name="T71" fmla="*/ 0 h 82"/>
                <a:gd name="T72" fmla="*/ 74 w 136"/>
                <a:gd name="T73" fmla="*/ 2 h 82"/>
                <a:gd name="T74" fmla="*/ 74 w 136"/>
                <a:gd name="T75" fmla="*/ 2 h 8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6"/>
                <a:gd name="T115" fmla="*/ 0 h 82"/>
                <a:gd name="T116" fmla="*/ 136 w 136"/>
                <a:gd name="T117" fmla="*/ 82 h 8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6" h="82">
                  <a:moveTo>
                    <a:pt x="74" y="2"/>
                  </a:moveTo>
                  <a:lnTo>
                    <a:pt x="74" y="2"/>
                  </a:lnTo>
                  <a:lnTo>
                    <a:pt x="88" y="4"/>
                  </a:lnTo>
                  <a:lnTo>
                    <a:pt x="100" y="8"/>
                  </a:lnTo>
                  <a:lnTo>
                    <a:pt x="112" y="14"/>
                  </a:lnTo>
                  <a:lnTo>
                    <a:pt x="120" y="20"/>
                  </a:lnTo>
                  <a:lnTo>
                    <a:pt x="128" y="28"/>
                  </a:lnTo>
                  <a:lnTo>
                    <a:pt x="134" y="36"/>
                  </a:lnTo>
                  <a:lnTo>
                    <a:pt x="136" y="44"/>
                  </a:lnTo>
                  <a:lnTo>
                    <a:pt x="136" y="52"/>
                  </a:lnTo>
                  <a:lnTo>
                    <a:pt x="134" y="60"/>
                  </a:lnTo>
                  <a:lnTo>
                    <a:pt x="130" y="66"/>
                  </a:lnTo>
                  <a:lnTo>
                    <a:pt x="122" y="72"/>
                  </a:lnTo>
                  <a:lnTo>
                    <a:pt x="112" y="76"/>
                  </a:lnTo>
                  <a:lnTo>
                    <a:pt x="102" y="80"/>
                  </a:lnTo>
                  <a:lnTo>
                    <a:pt x="90" y="82"/>
                  </a:lnTo>
                  <a:lnTo>
                    <a:pt x="76" y="82"/>
                  </a:lnTo>
                  <a:lnTo>
                    <a:pt x="62" y="82"/>
                  </a:lnTo>
                  <a:lnTo>
                    <a:pt x="48" y="78"/>
                  </a:lnTo>
                  <a:lnTo>
                    <a:pt x="36" y="74"/>
                  </a:lnTo>
                  <a:lnTo>
                    <a:pt x="26" y="70"/>
                  </a:lnTo>
                  <a:lnTo>
                    <a:pt x="16" y="62"/>
                  </a:lnTo>
                  <a:lnTo>
                    <a:pt x="8" y="56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8" y="16"/>
                  </a:lnTo>
                  <a:lnTo>
                    <a:pt x="14" y="10"/>
                  </a:lnTo>
                  <a:lnTo>
                    <a:pt x="24" y="6"/>
                  </a:lnTo>
                  <a:lnTo>
                    <a:pt x="34" y="2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4" y="2"/>
                  </a:lnTo>
                  <a:close/>
                </a:path>
              </a:pathLst>
            </a:custGeom>
            <a:solidFill>
              <a:srgbClr val="F7F4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253"/>
            <p:cNvSpPr>
              <a:spLocks/>
            </p:cNvSpPr>
            <p:nvPr/>
          </p:nvSpPr>
          <p:spPr bwMode="auto">
            <a:xfrm>
              <a:off x="4334" y="2797"/>
              <a:ext cx="132" cy="82"/>
            </a:xfrm>
            <a:custGeom>
              <a:avLst/>
              <a:gdLst>
                <a:gd name="T0" fmla="*/ 72 w 132"/>
                <a:gd name="T1" fmla="*/ 2 h 82"/>
                <a:gd name="T2" fmla="*/ 72 w 132"/>
                <a:gd name="T3" fmla="*/ 2 h 82"/>
                <a:gd name="T4" fmla="*/ 86 w 132"/>
                <a:gd name="T5" fmla="*/ 4 h 82"/>
                <a:gd name="T6" fmla="*/ 98 w 132"/>
                <a:gd name="T7" fmla="*/ 8 h 82"/>
                <a:gd name="T8" fmla="*/ 108 w 132"/>
                <a:gd name="T9" fmla="*/ 14 h 82"/>
                <a:gd name="T10" fmla="*/ 118 w 132"/>
                <a:gd name="T11" fmla="*/ 20 h 82"/>
                <a:gd name="T12" fmla="*/ 124 w 132"/>
                <a:gd name="T13" fmla="*/ 28 h 82"/>
                <a:gd name="T14" fmla="*/ 130 w 132"/>
                <a:gd name="T15" fmla="*/ 34 h 82"/>
                <a:gd name="T16" fmla="*/ 132 w 132"/>
                <a:gd name="T17" fmla="*/ 42 h 82"/>
                <a:gd name="T18" fmla="*/ 132 w 132"/>
                <a:gd name="T19" fmla="*/ 50 h 82"/>
                <a:gd name="T20" fmla="*/ 132 w 132"/>
                <a:gd name="T21" fmla="*/ 50 h 82"/>
                <a:gd name="T22" fmla="*/ 130 w 132"/>
                <a:gd name="T23" fmla="*/ 58 h 82"/>
                <a:gd name="T24" fmla="*/ 126 w 132"/>
                <a:gd name="T25" fmla="*/ 66 h 82"/>
                <a:gd name="T26" fmla="*/ 118 w 132"/>
                <a:gd name="T27" fmla="*/ 70 h 82"/>
                <a:gd name="T28" fmla="*/ 110 w 132"/>
                <a:gd name="T29" fmla="*/ 76 h 82"/>
                <a:gd name="T30" fmla="*/ 98 w 132"/>
                <a:gd name="T31" fmla="*/ 78 h 82"/>
                <a:gd name="T32" fmla="*/ 86 w 132"/>
                <a:gd name="T33" fmla="*/ 80 h 82"/>
                <a:gd name="T34" fmla="*/ 74 w 132"/>
                <a:gd name="T35" fmla="*/ 82 h 82"/>
                <a:gd name="T36" fmla="*/ 60 w 132"/>
                <a:gd name="T37" fmla="*/ 80 h 82"/>
                <a:gd name="T38" fmla="*/ 60 w 132"/>
                <a:gd name="T39" fmla="*/ 80 h 82"/>
                <a:gd name="T40" fmla="*/ 48 w 132"/>
                <a:gd name="T41" fmla="*/ 78 h 82"/>
                <a:gd name="T42" fmla="*/ 36 w 132"/>
                <a:gd name="T43" fmla="*/ 72 h 82"/>
                <a:gd name="T44" fmla="*/ 24 w 132"/>
                <a:gd name="T45" fmla="*/ 68 h 82"/>
                <a:gd name="T46" fmla="*/ 16 w 132"/>
                <a:gd name="T47" fmla="*/ 62 h 82"/>
                <a:gd name="T48" fmla="*/ 8 w 132"/>
                <a:gd name="T49" fmla="*/ 54 h 82"/>
                <a:gd name="T50" fmla="*/ 2 w 132"/>
                <a:gd name="T51" fmla="*/ 48 h 82"/>
                <a:gd name="T52" fmla="*/ 0 w 132"/>
                <a:gd name="T53" fmla="*/ 40 h 82"/>
                <a:gd name="T54" fmla="*/ 0 w 132"/>
                <a:gd name="T55" fmla="*/ 32 h 82"/>
                <a:gd name="T56" fmla="*/ 0 w 132"/>
                <a:gd name="T57" fmla="*/ 32 h 82"/>
                <a:gd name="T58" fmla="*/ 2 w 132"/>
                <a:gd name="T59" fmla="*/ 24 h 82"/>
                <a:gd name="T60" fmla="*/ 8 w 132"/>
                <a:gd name="T61" fmla="*/ 16 h 82"/>
                <a:gd name="T62" fmla="*/ 14 w 132"/>
                <a:gd name="T63" fmla="*/ 12 h 82"/>
                <a:gd name="T64" fmla="*/ 24 w 132"/>
                <a:gd name="T65" fmla="*/ 6 h 82"/>
                <a:gd name="T66" fmla="*/ 34 w 132"/>
                <a:gd name="T67" fmla="*/ 4 h 82"/>
                <a:gd name="T68" fmla="*/ 46 w 132"/>
                <a:gd name="T69" fmla="*/ 2 h 82"/>
                <a:gd name="T70" fmla="*/ 58 w 132"/>
                <a:gd name="T71" fmla="*/ 0 h 82"/>
                <a:gd name="T72" fmla="*/ 72 w 132"/>
                <a:gd name="T73" fmla="*/ 2 h 82"/>
                <a:gd name="T74" fmla="*/ 72 w 132"/>
                <a:gd name="T75" fmla="*/ 2 h 8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82"/>
                <a:gd name="T116" fmla="*/ 132 w 132"/>
                <a:gd name="T117" fmla="*/ 82 h 8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82">
                  <a:moveTo>
                    <a:pt x="72" y="2"/>
                  </a:moveTo>
                  <a:lnTo>
                    <a:pt x="72" y="2"/>
                  </a:lnTo>
                  <a:lnTo>
                    <a:pt x="86" y="4"/>
                  </a:lnTo>
                  <a:lnTo>
                    <a:pt x="98" y="8"/>
                  </a:lnTo>
                  <a:lnTo>
                    <a:pt x="108" y="14"/>
                  </a:lnTo>
                  <a:lnTo>
                    <a:pt x="118" y="20"/>
                  </a:lnTo>
                  <a:lnTo>
                    <a:pt x="124" y="28"/>
                  </a:lnTo>
                  <a:lnTo>
                    <a:pt x="130" y="34"/>
                  </a:lnTo>
                  <a:lnTo>
                    <a:pt x="132" y="42"/>
                  </a:lnTo>
                  <a:lnTo>
                    <a:pt x="132" y="50"/>
                  </a:lnTo>
                  <a:lnTo>
                    <a:pt x="130" y="58"/>
                  </a:lnTo>
                  <a:lnTo>
                    <a:pt x="126" y="66"/>
                  </a:lnTo>
                  <a:lnTo>
                    <a:pt x="118" y="70"/>
                  </a:lnTo>
                  <a:lnTo>
                    <a:pt x="110" y="76"/>
                  </a:lnTo>
                  <a:lnTo>
                    <a:pt x="98" y="78"/>
                  </a:lnTo>
                  <a:lnTo>
                    <a:pt x="86" y="80"/>
                  </a:lnTo>
                  <a:lnTo>
                    <a:pt x="74" y="82"/>
                  </a:lnTo>
                  <a:lnTo>
                    <a:pt x="60" y="80"/>
                  </a:lnTo>
                  <a:lnTo>
                    <a:pt x="48" y="78"/>
                  </a:lnTo>
                  <a:lnTo>
                    <a:pt x="36" y="72"/>
                  </a:lnTo>
                  <a:lnTo>
                    <a:pt x="24" y="68"/>
                  </a:lnTo>
                  <a:lnTo>
                    <a:pt x="16" y="62"/>
                  </a:lnTo>
                  <a:lnTo>
                    <a:pt x="8" y="54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4" y="6"/>
                  </a:lnTo>
                  <a:lnTo>
                    <a:pt x="34" y="4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F7F4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254"/>
            <p:cNvSpPr>
              <a:spLocks/>
            </p:cNvSpPr>
            <p:nvPr/>
          </p:nvSpPr>
          <p:spPr bwMode="auto">
            <a:xfrm>
              <a:off x="4336" y="2799"/>
              <a:ext cx="128" cy="78"/>
            </a:xfrm>
            <a:custGeom>
              <a:avLst/>
              <a:gdLst>
                <a:gd name="T0" fmla="*/ 70 w 128"/>
                <a:gd name="T1" fmla="*/ 0 h 78"/>
                <a:gd name="T2" fmla="*/ 70 w 128"/>
                <a:gd name="T3" fmla="*/ 0 h 78"/>
                <a:gd name="T4" fmla="*/ 82 w 128"/>
                <a:gd name="T5" fmla="*/ 4 h 78"/>
                <a:gd name="T6" fmla="*/ 94 w 128"/>
                <a:gd name="T7" fmla="*/ 8 h 78"/>
                <a:gd name="T8" fmla="*/ 106 w 128"/>
                <a:gd name="T9" fmla="*/ 12 h 78"/>
                <a:gd name="T10" fmla="*/ 114 w 128"/>
                <a:gd name="T11" fmla="*/ 18 h 78"/>
                <a:gd name="T12" fmla="*/ 120 w 128"/>
                <a:gd name="T13" fmla="*/ 26 h 78"/>
                <a:gd name="T14" fmla="*/ 126 w 128"/>
                <a:gd name="T15" fmla="*/ 32 h 78"/>
                <a:gd name="T16" fmla="*/ 128 w 128"/>
                <a:gd name="T17" fmla="*/ 40 h 78"/>
                <a:gd name="T18" fmla="*/ 128 w 128"/>
                <a:gd name="T19" fmla="*/ 48 h 78"/>
                <a:gd name="T20" fmla="*/ 128 w 128"/>
                <a:gd name="T21" fmla="*/ 48 h 78"/>
                <a:gd name="T22" fmla="*/ 126 w 128"/>
                <a:gd name="T23" fmla="*/ 56 h 78"/>
                <a:gd name="T24" fmla="*/ 122 w 128"/>
                <a:gd name="T25" fmla="*/ 62 h 78"/>
                <a:gd name="T26" fmla="*/ 114 w 128"/>
                <a:gd name="T27" fmla="*/ 68 h 78"/>
                <a:gd name="T28" fmla="*/ 106 w 128"/>
                <a:gd name="T29" fmla="*/ 72 h 78"/>
                <a:gd name="T30" fmla="*/ 96 w 128"/>
                <a:gd name="T31" fmla="*/ 74 h 78"/>
                <a:gd name="T32" fmla="*/ 84 w 128"/>
                <a:gd name="T33" fmla="*/ 76 h 78"/>
                <a:gd name="T34" fmla="*/ 72 w 128"/>
                <a:gd name="T35" fmla="*/ 78 h 78"/>
                <a:gd name="T36" fmla="*/ 58 w 128"/>
                <a:gd name="T37" fmla="*/ 76 h 78"/>
                <a:gd name="T38" fmla="*/ 58 w 128"/>
                <a:gd name="T39" fmla="*/ 76 h 78"/>
                <a:gd name="T40" fmla="*/ 46 w 128"/>
                <a:gd name="T41" fmla="*/ 74 h 78"/>
                <a:gd name="T42" fmla="*/ 34 w 128"/>
                <a:gd name="T43" fmla="*/ 70 h 78"/>
                <a:gd name="T44" fmla="*/ 24 w 128"/>
                <a:gd name="T45" fmla="*/ 64 h 78"/>
                <a:gd name="T46" fmla="*/ 14 w 128"/>
                <a:gd name="T47" fmla="*/ 58 h 78"/>
                <a:gd name="T48" fmla="*/ 8 w 128"/>
                <a:gd name="T49" fmla="*/ 52 h 78"/>
                <a:gd name="T50" fmla="*/ 2 w 128"/>
                <a:gd name="T51" fmla="*/ 44 h 78"/>
                <a:gd name="T52" fmla="*/ 0 w 128"/>
                <a:gd name="T53" fmla="*/ 36 h 78"/>
                <a:gd name="T54" fmla="*/ 0 w 128"/>
                <a:gd name="T55" fmla="*/ 28 h 78"/>
                <a:gd name="T56" fmla="*/ 0 w 128"/>
                <a:gd name="T57" fmla="*/ 28 h 78"/>
                <a:gd name="T58" fmla="*/ 2 w 128"/>
                <a:gd name="T59" fmla="*/ 22 h 78"/>
                <a:gd name="T60" fmla="*/ 8 w 128"/>
                <a:gd name="T61" fmla="*/ 14 h 78"/>
                <a:gd name="T62" fmla="*/ 14 w 128"/>
                <a:gd name="T63" fmla="*/ 10 h 78"/>
                <a:gd name="T64" fmla="*/ 22 w 128"/>
                <a:gd name="T65" fmla="*/ 4 h 78"/>
                <a:gd name="T66" fmla="*/ 32 w 128"/>
                <a:gd name="T67" fmla="*/ 2 h 78"/>
                <a:gd name="T68" fmla="*/ 44 w 128"/>
                <a:gd name="T69" fmla="*/ 0 h 78"/>
                <a:gd name="T70" fmla="*/ 56 w 128"/>
                <a:gd name="T71" fmla="*/ 0 h 78"/>
                <a:gd name="T72" fmla="*/ 70 w 128"/>
                <a:gd name="T73" fmla="*/ 0 h 78"/>
                <a:gd name="T74" fmla="*/ 70 w 128"/>
                <a:gd name="T75" fmla="*/ 0 h 7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8"/>
                <a:gd name="T115" fmla="*/ 0 h 78"/>
                <a:gd name="T116" fmla="*/ 128 w 128"/>
                <a:gd name="T117" fmla="*/ 78 h 7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8" h="78">
                  <a:moveTo>
                    <a:pt x="70" y="0"/>
                  </a:moveTo>
                  <a:lnTo>
                    <a:pt x="70" y="0"/>
                  </a:lnTo>
                  <a:lnTo>
                    <a:pt x="82" y="4"/>
                  </a:lnTo>
                  <a:lnTo>
                    <a:pt x="94" y="8"/>
                  </a:lnTo>
                  <a:lnTo>
                    <a:pt x="106" y="12"/>
                  </a:lnTo>
                  <a:lnTo>
                    <a:pt x="114" y="18"/>
                  </a:lnTo>
                  <a:lnTo>
                    <a:pt x="120" y="26"/>
                  </a:lnTo>
                  <a:lnTo>
                    <a:pt x="126" y="32"/>
                  </a:lnTo>
                  <a:lnTo>
                    <a:pt x="128" y="40"/>
                  </a:lnTo>
                  <a:lnTo>
                    <a:pt x="128" y="48"/>
                  </a:lnTo>
                  <a:lnTo>
                    <a:pt x="126" y="56"/>
                  </a:lnTo>
                  <a:lnTo>
                    <a:pt x="122" y="62"/>
                  </a:lnTo>
                  <a:lnTo>
                    <a:pt x="114" y="68"/>
                  </a:lnTo>
                  <a:lnTo>
                    <a:pt x="106" y="72"/>
                  </a:lnTo>
                  <a:lnTo>
                    <a:pt x="96" y="74"/>
                  </a:lnTo>
                  <a:lnTo>
                    <a:pt x="84" y="76"/>
                  </a:lnTo>
                  <a:lnTo>
                    <a:pt x="72" y="78"/>
                  </a:lnTo>
                  <a:lnTo>
                    <a:pt x="58" y="76"/>
                  </a:lnTo>
                  <a:lnTo>
                    <a:pt x="46" y="74"/>
                  </a:lnTo>
                  <a:lnTo>
                    <a:pt x="34" y="70"/>
                  </a:lnTo>
                  <a:lnTo>
                    <a:pt x="24" y="64"/>
                  </a:lnTo>
                  <a:lnTo>
                    <a:pt x="14" y="58"/>
                  </a:lnTo>
                  <a:lnTo>
                    <a:pt x="8" y="52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8" y="14"/>
                  </a:lnTo>
                  <a:lnTo>
                    <a:pt x="14" y="10"/>
                  </a:lnTo>
                  <a:lnTo>
                    <a:pt x="22" y="4"/>
                  </a:lnTo>
                  <a:lnTo>
                    <a:pt x="32" y="2"/>
                  </a:lnTo>
                  <a:lnTo>
                    <a:pt x="44" y="0"/>
                  </a:lnTo>
                  <a:lnTo>
                    <a:pt x="56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7F2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255"/>
            <p:cNvSpPr>
              <a:spLocks/>
            </p:cNvSpPr>
            <p:nvPr/>
          </p:nvSpPr>
          <p:spPr bwMode="auto">
            <a:xfrm>
              <a:off x="4338" y="2799"/>
              <a:ext cx="124" cy="76"/>
            </a:xfrm>
            <a:custGeom>
              <a:avLst/>
              <a:gdLst>
                <a:gd name="T0" fmla="*/ 68 w 124"/>
                <a:gd name="T1" fmla="*/ 2 h 76"/>
                <a:gd name="T2" fmla="*/ 68 w 124"/>
                <a:gd name="T3" fmla="*/ 2 h 76"/>
                <a:gd name="T4" fmla="*/ 80 w 124"/>
                <a:gd name="T5" fmla="*/ 4 h 76"/>
                <a:gd name="T6" fmla="*/ 92 w 124"/>
                <a:gd name="T7" fmla="*/ 8 h 76"/>
                <a:gd name="T8" fmla="*/ 102 w 124"/>
                <a:gd name="T9" fmla="*/ 12 h 76"/>
                <a:gd name="T10" fmla="*/ 110 w 124"/>
                <a:gd name="T11" fmla="*/ 18 h 76"/>
                <a:gd name="T12" fmla="*/ 118 w 124"/>
                <a:gd name="T13" fmla="*/ 26 h 76"/>
                <a:gd name="T14" fmla="*/ 122 w 124"/>
                <a:gd name="T15" fmla="*/ 32 h 76"/>
                <a:gd name="T16" fmla="*/ 124 w 124"/>
                <a:gd name="T17" fmla="*/ 40 h 76"/>
                <a:gd name="T18" fmla="*/ 124 w 124"/>
                <a:gd name="T19" fmla="*/ 46 h 76"/>
                <a:gd name="T20" fmla="*/ 124 w 124"/>
                <a:gd name="T21" fmla="*/ 46 h 76"/>
                <a:gd name="T22" fmla="*/ 122 w 124"/>
                <a:gd name="T23" fmla="*/ 54 h 76"/>
                <a:gd name="T24" fmla="*/ 118 w 124"/>
                <a:gd name="T25" fmla="*/ 60 h 76"/>
                <a:gd name="T26" fmla="*/ 112 w 124"/>
                <a:gd name="T27" fmla="*/ 66 h 76"/>
                <a:gd name="T28" fmla="*/ 102 w 124"/>
                <a:gd name="T29" fmla="*/ 70 h 76"/>
                <a:gd name="T30" fmla="*/ 92 w 124"/>
                <a:gd name="T31" fmla="*/ 74 h 76"/>
                <a:gd name="T32" fmla="*/ 82 w 124"/>
                <a:gd name="T33" fmla="*/ 74 h 76"/>
                <a:gd name="T34" fmla="*/ 70 w 124"/>
                <a:gd name="T35" fmla="*/ 76 h 76"/>
                <a:gd name="T36" fmla="*/ 58 w 124"/>
                <a:gd name="T37" fmla="*/ 74 h 76"/>
                <a:gd name="T38" fmla="*/ 58 w 124"/>
                <a:gd name="T39" fmla="*/ 74 h 76"/>
                <a:gd name="T40" fmla="*/ 44 w 124"/>
                <a:gd name="T41" fmla="*/ 72 h 76"/>
                <a:gd name="T42" fmla="*/ 34 w 124"/>
                <a:gd name="T43" fmla="*/ 68 h 76"/>
                <a:gd name="T44" fmla="*/ 24 w 124"/>
                <a:gd name="T45" fmla="*/ 62 h 76"/>
                <a:gd name="T46" fmla="*/ 14 w 124"/>
                <a:gd name="T47" fmla="*/ 58 h 76"/>
                <a:gd name="T48" fmla="*/ 8 w 124"/>
                <a:gd name="T49" fmla="*/ 50 h 76"/>
                <a:gd name="T50" fmla="*/ 2 w 124"/>
                <a:gd name="T51" fmla="*/ 44 h 76"/>
                <a:gd name="T52" fmla="*/ 0 w 124"/>
                <a:gd name="T53" fmla="*/ 36 h 76"/>
                <a:gd name="T54" fmla="*/ 0 w 124"/>
                <a:gd name="T55" fmla="*/ 28 h 76"/>
                <a:gd name="T56" fmla="*/ 0 w 124"/>
                <a:gd name="T57" fmla="*/ 28 h 76"/>
                <a:gd name="T58" fmla="*/ 2 w 124"/>
                <a:gd name="T59" fmla="*/ 22 h 76"/>
                <a:gd name="T60" fmla="*/ 6 w 124"/>
                <a:gd name="T61" fmla="*/ 16 h 76"/>
                <a:gd name="T62" fmla="*/ 14 w 124"/>
                <a:gd name="T63" fmla="*/ 10 h 76"/>
                <a:gd name="T64" fmla="*/ 22 w 124"/>
                <a:gd name="T65" fmla="*/ 6 h 76"/>
                <a:gd name="T66" fmla="*/ 32 w 124"/>
                <a:gd name="T67" fmla="*/ 2 h 76"/>
                <a:gd name="T68" fmla="*/ 44 w 124"/>
                <a:gd name="T69" fmla="*/ 0 h 76"/>
                <a:gd name="T70" fmla="*/ 56 w 124"/>
                <a:gd name="T71" fmla="*/ 0 h 76"/>
                <a:gd name="T72" fmla="*/ 68 w 124"/>
                <a:gd name="T73" fmla="*/ 2 h 76"/>
                <a:gd name="T74" fmla="*/ 68 w 124"/>
                <a:gd name="T75" fmla="*/ 2 h 7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4"/>
                <a:gd name="T115" fmla="*/ 0 h 76"/>
                <a:gd name="T116" fmla="*/ 124 w 124"/>
                <a:gd name="T117" fmla="*/ 76 h 7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4" h="76">
                  <a:moveTo>
                    <a:pt x="68" y="2"/>
                  </a:moveTo>
                  <a:lnTo>
                    <a:pt x="68" y="2"/>
                  </a:lnTo>
                  <a:lnTo>
                    <a:pt x="80" y="4"/>
                  </a:lnTo>
                  <a:lnTo>
                    <a:pt x="92" y="8"/>
                  </a:lnTo>
                  <a:lnTo>
                    <a:pt x="102" y="12"/>
                  </a:lnTo>
                  <a:lnTo>
                    <a:pt x="110" y="18"/>
                  </a:lnTo>
                  <a:lnTo>
                    <a:pt x="118" y="26"/>
                  </a:lnTo>
                  <a:lnTo>
                    <a:pt x="122" y="32"/>
                  </a:lnTo>
                  <a:lnTo>
                    <a:pt x="124" y="40"/>
                  </a:lnTo>
                  <a:lnTo>
                    <a:pt x="124" y="46"/>
                  </a:lnTo>
                  <a:lnTo>
                    <a:pt x="122" y="54"/>
                  </a:lnTo>
                  <a:lnTo>
                    <a:pt x="118" y="60"/>
                  </a:lnTo>
                  <a:lnTo>
                    <a:pt x="112" y="66"/>
                  </a:lnTo>
                  <a:lnTo>
                    <a:pt x="102" y="70"/>
                  </a:lnTo>
                  <a:lnTo>
                    <a:pt x="92" y="74"/>
                  </a:lnTo>
                  <a:lnTo>
                    <a:pt x="82" y="74"/>
                  </a:lnTo>
                  <a:lnTo>
                    <a:pt x="70" y="76"/>
                  </a:lnTo>
                  <a:lnTo>
                    <a:pt x="58" y="74"/>
                  </a:lnTo>
                  <a:lnTo>
                    <a:pt x="44" y="72"/>
                  </a:lnTo>
                  <a:lnTo>
                    <a:pt x="34" y="68"/>
                  </a:lnTo>
                  <a:lnTo>
                    <a:pt x="24" y="62"/>
                  </a:lnTo>
                  <a:lnTo>
                    <a:pt x="14" y="58"/>
                  </a:lnTo>
                  <a:lnTo>
                    <a:pt x="8" y="50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4" y="10"/>
                  </a:lnTo>
                  <a:lnTo>
                    <a:pt x="22" y="6"/>
                  </a:lnTo>
                  <a:lnTo>
                    <a:pt x="32" y="2"/>
                  </a:lnTo>
                  <a:lnTo>
                    <a:pt x="44" y="0"/>
                  </a:lnTo>
                  <a:lnTo>
                    <a:pt x="56" y="0"/>
                  </a:lnTo>
                  <a:lnTo>
                    <a:pt x="68" y="2"/>
                  </a:lnTo>
                  <a:close/>
                </a:path>
              </a:pathLst>
            </a:custGeom>
            <a:solidFill>
              <a:srgbClr val="F7F2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256"/>
            <p:cNvSpPr>
              <a:spLocks/>
            </p:cNvSpPr>
            <p:nvPr/>
          </p:nvSpPr>
          <p:spPr bwMode="auto">
            <a:xfrm>
              <a:off x="4340" y="2799"/>
              <a:ext cx="120" cy="74"/>
            </a:xfrm>
            <a:custGeom>
              <a:avLst/>
              <a:gdLst>
                <a:gd name="T0" fmla="*/ 66 w 120"/>
                <a:gd name="T1" fmla="*/ 2 h 74"/>
                <a:gd name="T2" fmla="*/ 66 w 120"/>
                <a:gd name="T3" fmla="*/ 2 h 74"/>
                <a:gd name="T4" fmla="*/ 78 w 120"/>
                <a:gd name="T5" fmla="*/ 4 h 74"/>
                <a:gd name="T6" fmla="*/ 88 w 120"/>
                <a:gd name="T7" fmla="*/ 8 h 74"/>
                <a:gd name="T8" fmla="*/ 98 w 120"/>
                <a:gd name="T9" fmla="*/ 12 h 74"/>
                <a:gd name="T10" fmla="*/ 106 w 120"/>
                <a:gd name="T11" fmla="*/ 18 h 74"/>
                <a:gd name="T12" fmla="*/ 114 w 120"/>
                <a:gd name="T13" fmla="*/ 24 h 74"/>
                <a:gd name="T14" fmla="*/ 118 w 120"/>
                <a:gd name="T15" fmla="*/ 32 h 74"/>
                <a:gd name="T16" fmla="*/ 120 w 120"/>
                <a:gd name="T17" fmla="*/ 38 h 74"/>
                <a:gd name="T18" fmla="*/ 120 w 120"/>
                <a:gd name="T19" fmla="*/ 46 h 74"/>
                <a:gd name="T20" fmla="*/ 120 w 120"/>
                <a:gd name="T21" fmla="*/ 46 h 74"/>
                <a:gd name="T22" fmla="*/ 118 w 120"/>
                <a:gd name="T23" fmla="*/ 54 h 74"/>
                <a:gd name="T24" fmla="*/ 114 w 120"/>
                <a:gd name="T25" fmla="*/ 60 h 74"/>
                <a:gd name="T26" fmla="*/ 108 w 120"/>
                <a:gd name="T27" fmla="*/ 64 h 74"/>
                <a:gd name="T28" fmla="*/ 100 w 120"/>
                <a:gd name="T29" fmla="*/ 68 h 74"/>
                <a:gd name="T30" fmla="*/ 90 w 120"/>
                <a:gd name="T31" fmla="*/ 72 h 74"/>
                <a:gd name="T32" fmla="*/ 80 w 120"/>
                <a:gd name="T33" fmla="*/ 74 h 74"/>
                <a:gd name="T34" fmla="*/ 68 w 120"/>
                <a:gd name="T35" fmla="*/ 74 h 74"/>
                <a:gd name="T36" fmla="*/ 56 w 120"/>
                <a:gd name="T37" fmla="*/ 72 h 74"/>
                <a:gd name="T38" fmla="*/ 56 w 120"/>
                <a:gd name="T39" fmla="*/ 72 h 74"/>
                <a:gd name="T40" fmla="*/ 44 w 120"/>
                <a:gd name="T41" fmla="*/ 70 h 74"/>
                <a:gd name="T42" fmla="*/ 32 w 120"/>
                <a:gd name="T43" fmla="*/ 66 h 74"/>
                <a:gd name="T44" fmla="*/ 22 w 120"/>
                <a:gd name="T45" fmla="*/ 62 h 74"/>
                <a:gd name="T46" fmla="*/ 14 w 120"/>
                <a:gd name="T47" fmla="*/ 56 h 74"/>
                <a:gd name="T48" fmla="*/ 8 w 120"/>
                <a:gd name="T49" fmla="*/ 50 h 74"/>
                <a:gd name="T50" fmla="*/ 2 w 120"/>
                <a:gd name="T51" fmla="*/ 42 h 74"/>
                <a:gd name="T52" fmla="*/ 0 w 120"/>
                <a:gd name="T53" fmla="*/ 36 h 74"/>
                <a:gd name="T54" fmla="*/ 0 w 120"/>
                <a:gd name="T55" fmla="*/ 28 h 74"/>
                <a:gd name="T56" fmla="*/ 0 w 120"/>
                <a:gd name="T57" fmla="*/ 28 h 74"/>
                <a:gd name="T58" fmla="*/ 2 w 120"/>
                <a:gd name="T59" fmla="*/ 22 h 74"/>
                <a:gd name="T60" fmla="*/ 6 w 120"/>
                <a:gd name="T61" fmla="*/ 16 h 74"/>
                <a:gd name="T62" fmla="*/ 14 w 120"/>
                <a:gd name="T63" fmla="*/ 10 h 74"/>
                <a:gd name="T64" fmla="*/ 22 w 120"/>
                <a:gd name="T65" fmla="*/ 6 h 74"/>
                <a:gd name="T66" fmla="*/ 32 w 120"/>
                <a:gd name="T67" fmla="*/ 2 h 74"/>
                <a:gd name="T68" fmla="*/ 42 w 120"/>
                <a:gd name="T69" fmla="*/ 2 h 74"/>
                <a:gd name="T70" fmla="*/ 54 w 120"/>
                <a:gd name="T71" fmla="*/ 0 h 74"/>
                <a:gd name="T72" fmla="*/ 66 w 120"/>
                <a:gd name="T73" fmla="*/ 2 h 74"/>
                <a:gd name="T74" fmla="*/ 66 w 120"/>
                <a:gd name="T75" fmla="*/ 2 h 7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0"/>
                <a:gd name="T115" fmla="*/ 0 h 74"/>
                <a:gd name="T116" fmla="*/ 120 w 120"/>
                <a:gd name="T117" fmla="*/ 74 h 7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0" h="74">
                  <a:moveTo>
                    <a:pt x="66" y="2"/>
                  </a:moveTo>
                  <a:lnTo>
                    <a:pt x="66" y="2"/>
                  </a:lnTo>
                  <a:lnTo>
                    <a:pt x="78" y="4"/>
                  </a:lnTo>
                  <a:lnTo>
                    <a:pt x="88" y="8"/>
                  </a:lnTo>
                  <a:lnTo>
                    <a:pt x="98" y="12"/>
                  </a:lnTo>
                  <a:lnTo>
                    <a:pt x="106" y="18"/>
                  </a:lnTo>
                  <a:lnTo>
                    <a:pt x="114" y="24"/>
                  </a:lnTo>
                  <a:lnTo>
                    <a:pt x="118" y="32"/>
                  </a:lnTo>
                  <a:lnTo>
                    <a:pt x="120" y="38"/>
                  </a:lnTo>
                  <a:lnTo>
                    <a:pt x="120" y="46"/>
                  </a:lnTo>
                  <a:lnTo>
                    <a:pt x="118" y="54"/>
                  </a:lnTo>
                  <a:lnTo>
                    <a:pt x="114" y="60"/>
                  </a:lnTo>
                  <a:lnTo>
                    <a:pt x="108" y="64"/>
                  </a:lnTo>
                  <a:lnTo>
                    <a:pt x="100" y="68"/>
                  </a:lnTo>
                  <a:lnTo>
                    <a:pt x="90" y="72"/>
                  </a:lnTo>
                  <a:lnTo>
                    <a:pt x="80" y="74"/>
                  </a:lnTo>
                  <a:lnTo>
                    <a:pt x="68" y="74"/>
                  </a:lnTo>
                  <a:lnTo>
                    <a:pt x="56" y="72"/>
                  </a:lnTo>
                  <a:lnTo>
                    <a:pt x="44" y="70"/>
                  </a:lnTo>
                  <a:lnTo>
                    <a:pt x="32" y="66"/>
                  </a:lnTo>
                  <a:lnTo>
                    <a:pt x="22" y="62"/>
                  </a:lnTo>
                  <a:lnTo>
                    <a:pt x="14" y="56"/>
                  </a:lnTo>
                  <a:lnTo>
                    <a:pt x="8" y="50"/>
                  </a:lnTo>
                  <a:lnTo>
                    <a:pt x="2" y="42"/>
                  </a:lnTo>
                  <a:lnTo>
                    <a:pt x="0" y="36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4" y="10"/>
                  </a:lnTo>
                  <a:lnTo>
                    <a:pt x="22" y="6"/>
                  </a:lnTo>
                  <a:lnTo>
                    <a:pt x="32" y="2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66" y="2"/>
                  </a:lnTo>
                  <a:close/>
                </a:path>
              </a:pathLst>
            </a:custGeom>
            <a:solidFill>
              <a:srgbClr val="F7EF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257"/>
            <p:cNvSpPr>
              <a:spLocks/>
            </p:cNvSpPr>
            <p:nvPr/>
          </p:nvSpPr>
          <p:spPr bwMode="auto">
            <a:xfrm>
              <a:off x="4342" y="2801"/>
              <a:ext cx="116" cy="70"/>
            </a:xfrm>
            <a:custGeom>
              <a:avLst/>
              <a:gdLst>
                <a:gd name="T0" fmla="*/ 64 w 116"/>
                <a:gd name="T1" fmla="*/ 0 h 70"/>
                <a:gd name="T2" fmla="*/ 64 w 116"/>
                <a:gd name="T3" fmla="*/ 0 h 70"/>
                <a:gd name="T4" fmla="*/ 76 w 116"/>
                <a:gd name="T5" fmla="*/ 2 h 70"/>
                <a:gd name="T6" fmla="*/ 86 w 116"/>
                <a:gd name="T7" fmla="*/ 6 h 70"/>
                <a:gd name="T8" fmla="*/ 96 w 116"/>
                <a:gd name="T9" fmla="*/ 12 h 70"/>
                <a:gd name="T10" fmla="*/ 104 w 116"/>
                <a:gd name="T11" fmla="*/ 16 h 70"/>
                <a:gd name="T12" fmla="*/ 110 w 116"/>
                <a:gd name="T13" fmla="*/ 22 h 70"/>
                <a:gd name="T14" fmla="*/ 114 w 116"/>
                <a:gd name="T15" fmla="*/ 30 h 70"/>
                <a:gd name="T16" fmla="*/ 116 w 116"/>
                <a:gd name="T17" fmla="*/ 36 h 70"/>
                <a:gd name="T18" fmla="*/ 116 w 116"/>
                <a:gd name="T19" fmla="*/ 44 h 70"/>
                <a:gd name="T20" fmla="*/ 116 w 116"/>
                <a:gd name="T21" fmla="*/ 44 h 70"/>
                <a:gd name="T22" fmla="*/ 114 w 116"/>
                <a:gd name="T23" fmla="*/ 50 h 70"/>
                <a:gd name="T24" fmla="*/ 110 w 116"/>
                <a:gd name="T25" fmla="*/ 56 h 70"/>
                <a:gd name="T26" fmla="*/ 104 w 116"/>
                <a:gd name="T27" fmla="*/ 60 h 70"/>
                <a:gd name="T28" fmla="*/ 96 w 116"/>
                <a:gd name="T29" fmla="*/ 64 h 70"/>
                <a:gd name="T30" fmla="*/ 86 w 116"/>
                <a:gd name="T31" fmla="*/ 68 h 70"/>
                <a:gd name="T32" fmla="*/ 76 w 116"/>
                <a:gd name="T33" fmla="*/ 70 h 70"/>
                <a:gd name="T34" fmla="*/ 66 w 116"/>
                <a:gd name="T35" fmla="*/ 70 h 70"/>
                <a:gd name="T36" fmla="*/ 54 w 116"/>
                <a:gd name="T37" fmla="*/ 68 h 70"/>
                <a:gd name="T38" fmla="*/ 54 w 116"/>
                <a:gd name="T39" fmla="*/ 68 h 70"/>
                <a:gd name="T40" fmla="*/ 42 w 116"/>
                <a:gd name="T41" fmla="*/ 66 h 70"/>
                <a:gd name="T42" fmla="*/ 32 w 116"/>
                <a:gd name="T43" fmla="*/ 62 h 70"/>
                <a:gd name="T44" fmla="*/ 22 w 116"/>
                <a:gd name="T45" fmla="*/ 58 h 70"/>
                <a:gd name="T46" fmla="*/ 14 w 116"/>
                <a:gd name="T47" fmla="*/ 52 h 70"/>
                <a:gd name="T48" fmla="*/ 8 w 116"/>
                <a:gd name="T49" fmla="*/ 46 h 70"/>
                <a:gd name="T50" fmla="*/ 2 w 116"/>
                <a:gd name="T51" fmla="*/ 40 h 70"/>
                <a:gd name="T52" fmla="*/ 0 w 116"/>
                <a:gd name="T53" fmla="*/ 32 h 70"/>
                <a:gd name="T54" fmla="*/ 0 w 116"/>
                <a:gd name="T55" fmla="*/ 26 h 70"/>
                <a:gd name="T56" fmla="*/ 0 w 116"/>
                <a:gd name="T57" fmla="*/ 26 h 70"/>
                <a:gd name="T58" fmla="*/ 2 w 116"/>
                <a:gd name="T59" fmla="*/ 20 h 70"/>
                <a:gd name="T60" fmla="*/ 6 w 116"/>
                <a:gd name="T61" fmla="*/ 14 h 70"/>
                <a:gd name="T62" fmla="*/ 12 w 116"/>
                <a:gd name="T63" fmla="*/ 8 h 70"/>
                <a:gd name="T64" fmla="*/ 20 w 116"/>
                <a:gd name="T65" fmla="*/ 4 h 70"/>
                <a:gd name="T66" fmla="*/ 30 w 116"/>
                <a:gd name="T67" fmla="*/ 2 h 70"/>
                <a:gd name="T68" fmla="*/ 40 w 116"/>
                <a:gd name="T69" fmla="*/ 0 h 70"/>
                <a:gd name="T70" fmla="*/ 52 w 116"/>
                <a:gd name="T71" fmla="*/ 0 h 70"/>
                <a:gd name="T72" fmla="*/ 64 w 116"/>
                <a:gd name="T73" fmla="*/ 0 h 70"/>
                <a:gd name="T74" fmla="*/ 64 w 116"/>
                <a:gd name="T75" fmla="*/ 0 h 7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6"/>
                <a:gd name="T115" fmla="*/ 0 h 70"/>
                <a:gd name="T116" fmla="*/ 116 w 116"/>
                <a:gd name="T117" fmla="*/ 70 h 7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6" h="70">
                  <a:moveTo>
                    <a:pt x="64" y="0"/>
                  </a:moveTo>
                  <a:lnTo>
                    <a:pt x="64" y="0"/>
                  </a:lnTo>
                  <a:lnTo>
                    <a:pt x="76" y="2"/>
                  </a:lnTo>
                  <a:lnTo>
                    <a:pt x="86" y="6"/>
                  </a:lnTo>
                  <a:lnTo>
                    <a:pt x="96" y="12"/>
                  </a:lnTo>
                  <a:lnTo>
                    <a:pt x="104" y="16"/>
                  </a:lnTo>
                  <a:lnTo>
                    <a:pt x="110" y="22"/>
                  </a:lnTo>
                  <a:lnTo>
                    <a:pt x="114" y="30"/>
                  </a:lnTo>
                  <a:lnTo>
                    <a:pt x="116" y="36"/>
                  </a:lnTo>
                  <a:lnTo>
                    <a:pt x="116" y="44"/>
                  </a:lnTo>
                  <a:lnTo>
                    <a:pt x="114" y="50"/>
                  </a:lnTo>
                  <a:lnTo>
                    <a:pt x="110" y="56"/>
                  </a:lnTo>
                  <a:lnTo>
                    <a:pt x="104" y="60"/>
                  </a:lnTo>
                  <a:lnTo>
                    <a:pt x="96" y="64"/>
                  </a:lnTo>
                  <a:lnTo>
                    <a:pt x="86" y="68"/>
                  </a:lnTo>
                  <a:lnTo>
                    <a:pt x="76" y="70"/>
                  </a:lnTo>
                  <a:lnTo>
                    <a:pt x="66" y="70"/>
                  </a:lnTo>
                  <a:lnTo>
                    <a:pt x="54" y="68"/>
                  </a:lnTo>
                  <a:lnTo>
                    <a:pt x="42" y="66"/>
                  </a:lnTo>
                  <a:lnTo>
                    <a:pt x="32" y="62"/>
                  </a:lnTo>
                  <a:lnTo>
                    <a:pt x="22" y="58"/>
                  </a:lnTo>
                  <a:lnTo>
                    <a:pt x="14" y="52"/>
                  </a:lnTo>
                  <a:lnTo>
                    <a:pt x="8" y="46"/>
                  </a:lnTo>
                  <a:lnTo>
                    <a:pt x="2" y="40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4"/>
                  </a:lnTo>
                  <a:lnTo>
                    <a:pt x="12" y="8"/>
                  </a:lnTo>
                  <a:lnTo>
                    <a:pt x="20" y="4"/>
                  </a:lnTo>
                  <a:lnTo>
                    <a:pt x="30" y="2"/>
                  </a:lnTo>
                  <a:lnTo>
                    <a:pt x="40" y="0"/>
                  </a:lnTo>
                  <a:lnTo>
                    <a:pt x="52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7ED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258"/>
            <p:cNvSpPr>
              <a:spLocks/>
            </p:cNvSpPr>
            <p:nvPr/>
          </p:nvSpPr>
          <p:spPr bwMode="auto">
            <a:xfrm>
              <a:off x="4344" y="2801"/>
              <a:ext cx="112" cy="68"/>
            </a:xfrm>
            <a:custGeom>
              <a:avLst/>
              <a:gdLst>
                <a:gd name="T0" fmla="*/ 62 w 112"/>
                <a:gd name="T1" fmla="*/ 0 h 68"/>
                <a:gd name="T2" fmla="*/ 62 w 112"/>
                <a:gd name="T3" fmla="*/ 0 h 68"/>
                <a:gd name="T4" fmla="*/ 72 w 112"/>
                <a:gd name="T5" fmla="*/ 4 h 68"/>
                <a:gd name="T6" fmla="*/ 82 w 112"/>
                <a:gd name="T7" fmla="*/ 6 h 68"/>
                <a:gd name="T8" fmla="*/ 92 w 112"/>
                <a:gd name="T9" fmla="*/ 12 h 68"/>
                <a:gd name="T10" fmla="*/ 100 w 112"/>
                <a:gd name="T11" fmla="*/ 16 h 68"/>
                <a:gd name="T12" fmla="*/ 106 w 112"/>
                <a:gd name="T13" fmla="*/ 22 h 68"/>
                <a:gd name="T14" fmla="*/ 110 w 112"/>
                <a:gd name="T15" fmla="*/ 28 h 68"/>
                <a:gd name="T16" fmla="*/ 112 w 112"/>
                <a:gd name="T17" fmla="*/ 36 h 68"/>
                <a:gd name="T18" fmla="*/ 112 w 112"/>
                <a:gd name="T19" fmla="*/ 42 h 68"/>
                <a:gd name="T20" fmla="*/ 112 w 112"/>
                <a:gd name="T21" fmla="*/ 42 h 68"/>
                <a:gd name="T22" fmla="*/ 110 w 112"/>
                <a:gd name="T23" fmla="*/ 48 h 68"/>
                <a:gd name="T24" fmla="*/ 106 w 112"/>
                <a:gd name="T25" fmla="*/ 54 h 68"/>
                <a:gd name="T26" fmla="*/ 100 w 112"/>
                <a:gd name="T27" fmla="*/ 60 h 68"/>
                <a:gd name="T28" fmla="*/ 92 w 112"/>
                <a:gd name="T29" fmla="*/ 64 h 68"/>
                <a:gd name="T30" fmla="*/ 84 w 112"/>
                <a:gd name="T31" fmla="*/ 66 h 68"/>
                <a:gd name="T32" fmla="*/ 74 w 112"/>
                <a:gd name="T33" fmla="*/ 68 h 68"/>
                <a:gd name="T34" fmla="*/ 64 w 112"/>
                <a:gd name="T35" fmla="*/ 68 h 68"/>
                <a:gd name="T36" fmla="*/ 52 w 112"/>
                <a:gd name="T37" fmla="*/ 66 h 68"/>
                <a:gd name="T38" fmla="*/ 52 w 112"/>
                <a:gd name="T39" fmla="*/ 66 h 68"/>
                <a:gd name="T40" fmla="*/ 40 w 112"/>
                <a:gd name="T41" fmla="*/ 64 h 68"/>
                <a:gd name="T42" fmla="*/ 30 w 112"/>
                <a:gd name="T43" fmla="*/ 62 h 68"/>
                <a:gd name="T44" fmla="*/ 20 w 112"/>
                <a:gd name="T45" fmla="*/ 56 h 68"/>
                <a:gd name="T46" fmla="*/ 14 w 112"/>
                <a:gd name="T47" fmla="*/ 52 h 68"/>
                <a:gd name="T48" fmla="*/ 8 w 112"/>
                <a:gd name="T49" fmla="*/ 46 h 68"/>
                <a:gd name="T50" fmla="*/ 2 w 112"/>
                <a:gd name="T51" fmla="*/ 40 h 68"/>
                <a:gd name="T52" fmla="*/ 0 w 112"/>
                <a:gd name="T53" fmla="*/ 32 h 68"/>
                <a:gd name="T54" fmla="*/ 0 w 112"/>
                <a:gd name="T55" fmla="*/ 26 h 68"/>
                <a:gd name="T56" fmla="*/ 0 w 112"/>
                <a:gd name="T57" fmla="*/ 26 h 68"/>
                <a:gd name="T58" fmla="*/ 2 w 112"/>
                <a:gd name="T59" fmla="*/ 20 h 68"/>
                <a:gd name="T60" fmla="*/ 6 w 112"/>
                <a:gd name="T61" fmla="*/ 14 h 68"/>
                <a:gd name="T62" fmla="*/ 12 w 112"/>
                <a:gd name="T63" fmla="*/ 8 h 68"/>
                <a:gd name="T64" fmla="*/ 20 w 112"/>
                <a:gd name="T65" fmla="*/ 4 h 68"/>
                <a:gd name="T66" fmla="*/ 30 w 112"/>
                <a:gd name="T67" fmla="*/ 2 h 68"/>
                <a:gd name="T68" fmla="*/ 40 w 112"/>
                <a:gd name="T69" fmla="*/ 0 h 68"/>
                <a:gd name="T70" fmla="*/ 50 w 112"/>
                <a:gd name="T71" fmla="*/ 0 h 68"/>
                <a:gd name="T72" fmla="*/ 62 w 112"/>
                <a:gd name="T73" fmla="*/ 0 h 68"/>
                <a:gd name="T74" fmla="*/ 62 w 112"/>
                <a:gd name="T75" fmla="*/ 0 h 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2"/>
                <a:gd name="T115" fmla="*/ 0 h 68"/>
                <a:gd name="T116" fmla="*/ 112 w 112"/>
                <a:gd name="T117" fmla="*/ 68 h 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2" h="68">
                  <a:moveTo>
                    <a:pt x="62" y="0"/>
                  </a:moveTo>
                  <a:lnTo>
                    <a:pt x="62" y="0"/>
                  </a:lnTo>
                  <a:lnTo>
                    <a:pt x="72" y="4"/>
                  </a:lnTo>
                  <a:lnTo>
                    <a:pt x="82" y="6"/>
                  </a:lnTo>
                  <a:lnTo>
                    <a:pt x="92" y="12"/>
                  </a:lnTo>
                  <a:lnTo>
                    <a:pt x="100" y="16"/>
                  </a:lnTo>
                  <a:lnTo>
                    <a:pt x="106" y="22"/>
                  </a:lnTo>
                  <a:lnTo>
                    <a:pt x="110" y="28"/>
                  </a:lnTo>
                  <a:lnTo>
                    <a:pt x="112" y="36"/>
                  </a:lnTo>
                  <a:lnTo>
                    <a:pt x="112" y="42"/>
                  </a:lnTo>
                  <a:lnTo>
                    <a:pt x="110" y="48"/>
                  </a:lnTo>
                  <a:lnTo>
                    <a:pt x="106" y="54"/>
                  </a:lnTo>
                  <a:lnTo>
                    <a:pt x="100" y="60"/>
                  </a:lnTo>
                  <a:lnTo>
                    <a:pt x="92" y="64"/>
                  </a:lnTo>
                  <a:lnTo>
                    <a:pt x="84" y="66"/>
                  </a:lnTo>
                  <a:lnTo>
                    <a:pt x="74" y="68"/>
                  </a:lnTo>
                  <a:lnTo>
                    <a:pt x="64" y="68"/>
                  </a:lnTo>
                  <a:lnTo>
                    <a:pt x="52" y="66"/>
                  </a:lnTo>
                  <a:lnTo>
                    <a:pt x="40" y="64"/>
                  </a:lnTo>
                  <a:lnTo>
                    <a:pt x="30" y="62"/>
                  </a:lnTo>
                  <a:lnTo>
                    <a:pt x="20" y="56"/>
                  </a:lnTo>
                  <a:lnTo>
                    <a:pt x="14" y="52"/>
                  </a:lnTo>
                  <a:lnTo>
                    <a:pt x="8" y="46"/>
                  </a:lnTo>
                  <a:lnTo>
                    <a:pt x="2" y="40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4"/>
                  </a:lnTo>
                  <a:lnTo>
                    <a:pt x="12" y="8"/>
                  </a:lnTo>
                  <a:lnTo>
                    <a:pt x="20" y="4"/>
                  </a:lnTo>
                  <a:lnTo>
                    <a:pt x="30" y="2"/>
                  </a:lnTo>
                  <a:lnTo>
                    <a:pt x="40" y="0"/>
                  </a:lnTo>
                  <a:lnTo>
                    <a:pt x="50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F7ED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259"/>
            <p:cNvSpPr>
              <a:spLocks/>
            </p:cNvSpPr>
            <p:nvPr/>
          </p:nvSpPr>
          <p:spPr bwMode="auto">
            <a:xfrm>
              <a:off x="4346" y="2801"/>
              <a:ext cx="108" cy="66"/>
            </a:xfrm>
            <a:custGeom>
              <a:avLst/>
              <a:gdLst>
                <a:gd name="T0" fmla="*/ 60 w 108"/>
                <a:gd name="T1" fmla="*/ 2 h 66"/>
                <a:gd name="T2" fmla="*/ 60 w 108"/>
                <a:gd name="T3" fmla="*/ 2 h 66"/>
                <a:gd name="T4" fmla="*/ 70 w 108"/>
                <a:gd name="T5" fmla="*/ 4 h 66"/>
                <a:gd name="T6" fmla="*/ 80 w 108"/>
                <a:gd name="T7" fmla="*/ 8 h 66"/>
                <a:gd name="T8" fmla="*/ 88 w 108"/>
                <a:gd name="T9" fmla="*/ 12 h 66"/>
                <a:gd name="T10" fmla="*/ 96 w 108"/>
                <a:gd name="T11" fmla="*/ 16 h 66"/>
                <a:gd name="T12" fmla="*/ 102 w 108"/>
                <a:gd name="T13" fmla="*/ 22 h 66"/>
                <a:gd name="T14" fmla="*/ 106 w 108"/>
                <a:gd name="T15" fmla="*/ 28 h 66"/>
                <a:gd name="T16" fmla="*/ 108 w 108"/>
                <a:gd name="T17" fmla="*/ 34 h 66"/>
                <a:gd name="T18" fmla="*/ 108 w 108"/>
                <a:gd name="T19" fmla="*/ 42 h 66"/>
                <a:gd name="T20" fmla="*/ 108 w 108"/>
                <a:gd name="T21" fmla="*/ 42 h 66"/>
                <a:gd name="T22" fmla="*/ 106 w 108"/>
                <a:gd name="T23" fmla="*/ 48 h 66"/>
                <a:gd name="T24" fmla="*/ 102 w 108"/>
                <a:gd name="T25" fmla="*/ 54 h 66"/>
                <a:gd name="T26" fmla="*/ 96 w 108"/>
                <a:gd name="T27" fmla="*/ 58 h 66"/>
                <a:gd name="T28" fmla="*/ 90 w 108"/>
                <a:gd name="T29" fmla="*/ 62 h 66"/>
                <a:gd name="T30" fmla="*/ 80 w 108"/>
                <a:gd name="T31" fmla="*/ 64 h 66"/>
                <a:gd name="T32" fmla="*/ 72 w 108"/>
                <a:gd name="T33" fmla="*/ 66 h 66"/>
                <a:gd name="T34" fmla="*/ 60 w 108"/>
                <a:gd name="T35" fmla="*/ 66 h 66"/>
                <a:gd name="T36" fmla="*/ 50 w 108"/>
                <a:gd name="T37" fmla="*/ 66 h 66"/>
                <a:gd name="T38" fmla="*/ 50 w 108"/>
                <a:gd name="T39" fmla="*/ 66 h 66"/>
                <a:gd name="T40" fmla="*/ 38 w 108"/>
                <a:gd name="T41" fmla="*/ 62 h 66"/>
                <a:gd name="T42" fmla="*/ 30 w 108"/>
                <a:gd name="T43" fmla="*/ 60 h 66"/>
                <a:gd name="T44" fmla="*/ 20 w 108"/>
                <a:gd name="T45" fmla="*/ 56 h 66"/>
                <a:gd name="T46" fmla="*/ 12 w 108"/>
                <a:gd name="T47" fmla="*/ 50 h 66"/>
                <a:gd name="T48" fmla="*/ 6 w 108"/>
                <a:gd name="T49" fmla="*/ 44 h 66"/>
                <a:gd name="T50" fmla="*/ 2 w 108"/>
                <a:gd name="T51" fmla="*/ 38 h 66"/>
                <a:gd name="T52" fmla="*/ 0 w 108"/>
                <a:gd name="T53" fmla="*/ 32 h 66"/>
                <a:gd name="T54" fmla="*/ 0 w 108"/>
                <a:gd name="T55" fmla="*/ 26 h 66"/>
                <a:gd name="T56" fmla="*/ 0 w 108"/>
                <a:gd name="T57" fmla="*/ 26 h 66"/>
                <a:gd name="T58" fmla="*/ 2 w 108"/>
                <a:gd name="T59" fmla="*/ 20 h 66"/>
                <a:gd name="T60" fmla="*/ 6 w 108"/>
                <a:gd name="T61" fmla="*/ 14 h 66"/>
                <a:gd name="T62" fmla="*/ 12 w 108"/>
                <a:gd name="T63" fmla="*/ 8 h 66"/>
                <a:gd name="T64" fmla="*/ 20 w 108"/>
                <a:gd name="T65" fmla="*/ 6 h 66"/>
                <a:gd name="T66" fmla="*/ 28 w 108"/>
                <a:gd name="T67" fmla="*/ 2 h 66"/>
                <a:gd name="T68" fmla="*/ 38 w 108"/>
                <a:gd name="T69" fmla="*/ 0 h 66"/>
                <a:gd name="T70" fmla="*/ 48 w 108"/>
                <a:gd name="T71" fmla="*/ 0 h 66"/>
                <a:gd name="T72" fmla="*/ 60 w 108"/>
                <a:gd name="T73" fmla="*/ 2 h 66"/>
                <a:gd name="T74" fmla="*/ 60 w 108"/>
                <a:gd name="T75" fmla="*/ 2 h 6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8"/>
                <a:gd name="T115" fmla="*/ 0 h 66"/>
                <a:gd name="T116" fmla="*/ 108 w 108"/>
                <a:gd name="T117" fmla="*/ 66 h 6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8" h="66">
                  <a:moveTo>
                    <a:pt x="60" y="2"/>
                  </a:moveTo>
                  <a:lnTo>
                    <a:pt x="60" y="2"/>
                  </a:lnTo>
                  <a:lnTo>
                    <a:pt x="70" y="4"/>
                  </a:lnTo>
                  <a:lnTo>
                    <a:pt x="80" y="8"/>
                  </a:lnTo>
                  <a:lnTo>
                    <a:pt x="88" y="12"/>
                  </a:lnTo>
                  <a:lnTo>
                    <a:pt x="96" y="16"/>
                  </a:lnTo>
                  <a:lnTo>
                    <a:pt x="102" y="22"/>
                  </a:lnTo>
                  <a:lnTo>
                    <a:pt x="106" y="28"/>
                  </a:lnTo>
                  <a:lnTo>
                    <a:pt x="108" y="34"/>
                  </a:lnTo>
                  <a:lnTo>
                    <a:pt x="108" y="42"/>
                  </a:lnTo>
                  <a:lnTo>
                    <a:pt x="106" y="48"/>
                  </a:lnTo>
                  <a:lnTo>
                    <a:pt x="102" y="54"/>
                  </a:lnTo>
                  <a:lnTo>
                    <a:pt x="96" y="58"/>
                  </a:lnTo>
                  <a:lnTo>
                    <a:pt x="90" y="62"/>
                  </a:lnTo>
                  <a:lnTo>
                    <a:pt x="80" y="64"/>
                  </a:lnTo>
                  <a:lnTo>
                    <a:pt x="72" y="66"/>
                  </a:lnTo>
                  <a:lnTo>
                    <a:pt x="60" y="66"/>
                  </a:lnTo>
                  <a:lnTo>
                    <a:pt x="50" y="66"/>
                  </a:lnTo>
                  <a:lnTo>
                    <a:pt x="38" y="62"/>
                  </a:lnTo>
                  <a:lnTo>
                    <a:pt x="30" y="60"/>
                  </a:lnTo>
                  <a:lnTo>
                    <a:pt x="20" y="56"/>
                  </a:lnTo>
                  <a:lnTo>
                    <a:pt x="12" y="50"/>
                  </a:lnTo>
                  <a:lnTo>
                    <a:pt x="6" y="44"/>
                  </a:lnTo>
                  <a:lnTo>
                    <a:pt x="2" y="38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4"/>
                  </a:lnTo>
                  <a:lnTo>
                    <a:pt x="12" y="8"/>
                  </a:lnTo>
                  <a:lnTo>
                    <a:pt x="20" y="6"/>
                  </a:lnTo>
                  <a:lnTo>
                    <a:pt x="28" y="2"/>
                  </a:lnTo>
                  <a:lnTo>
                    <a:pt x="38" y="0"/>
                  </a:lnTo>
                  <a:lnTo>
                    <a:pt x="48" y="0"/>
                  </a:lnTo>
                  <a:lnTo>
                    <a:pt x="60" y="2"/>
                  </a:lnTo>
                  <a:close/>
                </a:path>
              </a:pathLst>
            </a:custGeom>
            <a:solidFill>
              <a:srgbClr val="F7E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260"/>
            <p:cNvSpPr>
              <a:spLocks/>
            </p:cNvSpPr>
            <p:nvPr/>
          </p:nvSpPr>
          <p:spPr bwMode="auto">
            <a:xfrm>
              <a:off x="4348" y="2803"/>
              <a:ext cx="104" cy="62"/>
            </a:xfrm>
            <a:custGeom>
              <a:avLst/>
              <a:gdLst>
                <a:gd name="T0" fmla="*/ 58 w 104"/>
                <a:gd name="T1" fmla="*/ 0 h 62"/>
                <a:gd name="T2" fmla="*/ 58 w 104"/>
                <a:gd name="T3" fmla="*/ 0 h 62"/>
                <a:gd name="T4" fmla="*/ 68 w 104"/>
                <a:gd name="T5" fmla="*/ 2 h 62"/>
                <a:gd name="T6" fmla="*/ 78 w 104"/>
                <a:gd name="T7" fmla="*/ 6 h 62"/>
                <a:gd name="T8" fmla="*/ 86 w 104"/>
                <a:gd name="T9" fmla="*/ 10 h 62"/>
                <a:gd name="T10" fmla="*/ 92 w 104"/>
                <a:gd name="T11" fmla="*/ 14 h 62"/>
                <a:gd name="T12" fmla="*/ 98 w 104"/>
                <a:gd name="T13" fmla="*/ 20 h 62"/>
                <a:gd name="T14" fmla="*/ 102 w 104"/>
                <a:gd name="T15" fmla="*/ 26 h 62"/>
                <a:gd name="T16" fmla="*/ 104 w 104"/>
                <a:gd name="T17" fmla="*/ 32 h 62"/>
                <a:gd name="T18" fmla="*/ 104 w 104"/>
                <a:gd name="T19" fmla="*/ 38 h 62"/>
                <a:gd name="T20" fmla="*/ 104 w 104"/>
                <a:gd name="T21" fmla="*/ 38 h 62"/>
                <a:gd name="T22" fmla="*/ 102 w 104"/>
                <a:gd name="T23" fmla="*/ 44 h 62"/>
                <a:gd name="T24" fmla="*/ 100 w 104"/>
                <a:gd name="T25" fmla="*/ 50 h 62"/>
                <a:gd name="T26" fmla="*/ 94 w 104"/>
                <a:gd name="T27" fmla="*/ 54 h 62"/>
                <a:gd name="T28" fmla="*/ 86 w 104"/>
                <a:gd name="T29" fmla="*/ 58 h 62"/>
                <a:gd name="T30" fmla="*/ 78 w 104"/>
                <a:gd name="T31" fmla="*/ 60 h 62"/>
                <a:gd name="T32" fmla="*/ 68 w 104"/>
                <a:gd name="T33" fmla="*/ 62 h 62"/>
                <a:gd name="T34" fmla="*/ 58 w 104"/>
                <a:gd name="T35" fmla="*/ 62 h 62"/>
                <a:gd name="T36" fmla="*/ 48 w 104"/>
                <a:gd name="T37" fmla="*/ 62 h 62"/>
                <a:gd name="T38" fmla="*/ 48 w 104"/>
                <a:gd name="T39" fmla="*/ 62 h 62"/>
                <a:gd name="T40" fmla="*/ 38 w 104"/>
                <a:gd name="T41" fmla="*/ 60 h 62"/>
                <a:gd name="T42" fmla="*/ 28 w 104"/>
                <a:gd name="T43" fmla="*/ 56 h 62"/>
                <a:gd name="T44" fmla="*/ 20 w 104"/>
                <a:gd name="T45" fmla="*/ 52 h 62"/>
                <a:gd name="T46" fmla="*/ 12 w 104"/>
                <a:gd name="T47" fmla="*/ 46 h 62"/>
                <a:gd name="T48" fmla="*/ 6 w 104"/>
                <a:gd name="T49" fmla="*/ 42 h 62"/>
                <a:gd name="T50" fmla="*/ 2 w 104"/>
                <a:gd name="T51" fmla="*/ 36 h 62"/>
                <a:gd name="T52" fmla="*/ 0 w 104"/>
                <a:gd name="T53" fmla="*/ 30 h 62"/>
                <a:gd name="T54" fmla="*/ 0 w 104"/>
                <a:gd name="T55" fmla="*/ 24 h 62"/>
                <a:gd name="T56" fmla="*/ 0 w 104"/>
                <a:gd name="T57" fmla="*/ 24 h 62"/>
                <a:gd name="T58" fmla="*/ 2 w 104"/>
                <a:gd name="T59" fmla="*/ 18 h 62"/>
                <a:gd name="T60" fmla="*/ 6 w 104"/>
                <a:gd name="T61" fmla="*/ 12 h 62"/>
                <a:gd name="T62" fmla="*/ 12 w 104"/>
                <a:gd name="T63" fmla="*/ 8 h 62"/>
                <a:gd name="T64" fmla="*/ 18 w 104"/>
                <a:gd name="T65" fmla="*/ 4 h 62"/>
                <a:gd name="T66" fmla="*/ 28 w 104"/>
                <a:gd name="T67" fmla="*/ 2 h 62"/>
                <a:gd name="T68" fmla="*/ 36 w 104"/>
                <a:gd name="T69" fmla="*/ 0 h 62"/>
                <a:gd name="T70" fmla="*/ 46 w 104"/>
                <a:gd name="T71" fmla="*/ 0 h 62"/>
                <a:gd name="T72" fmla="*/ 58 w 104"/>
                <a:gd name="T73" fmla="*/ 0 h 62"/>
                <a:gd name="T74" fmla="*/ 58 w 104"/>
                <a:gd name="T75" fmla="*/ 0 h 6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4"/>
                <a:gd name="T115" fmla="*/ 0 h 62"/>
                <a:gd name="T116" fmla="*/ 104 w 104"/>
                <a:gd name="T117" fmla="*/ 62 h 6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4" h="62">
                  <a:moveTo>
                    <a:pt x="58" y="0"/>
                  </a:moveTo>
                  <a:lnTo>
                    <a:pt x="58" y="0"/>
                  </a:lnTo>
                  <a:lnTo>
                    <a:pt x="68" y="2"/>
                  </a:lnTo>
                  <a:lnTo>
                    <a:pt x="78" y="6"/>
                  </a:lnTo>
                  <a:lnTo>
                    <a:pt x="86" y="10"/>
                  </a:lnTo>
                  <a:lnTo>
                    <a:pt x="92" y="14"/>
                  </a:lnTo>
                  <a:lnTo>
                    <a:pt x="98" y="20"/>
                  </a:lnTo>
                  <a:lnTo>
                    <a:pt x="102" y="26"/>
                  </a:lnTo>
                  <a:lnTo>
                    <a:pt x="104" y="32"/>
                  </a:lnTo>
                  <a:lnTo>
                    <a:pt x="104" y="38"/>
                  </a:lnTo>
                  <a:lnTo>
                    <a:pt x="102" y="44"/>
                  </a:lnTo>
                  <a:lnTo>
                    <a:pt x="100" y="50"/>
                  </a:lnTo>
                  <a:lnTo>
                    <a:pt x="94" y="54"/>
                  </a:lnTo>
                  <a:lnTo>
                    <a:pt x="86" y="58"/>
                  </a:lnTo>
                  <a:lnTo>
                    <a:pt x="78" y="60"/>
                  </a:lnTo>
                  <a:lnTo>
                    <a:pt x="68" y="62"/>
                  </a:lnTo>
                  <a:lnTo>
                    <a:pt x="58" y="62"/>
                  </a:lnTo>
                  <a:lnTo>
                    <a:pt x="48" y="62"/>
                  </a:lnTo>
                  <a:lnTo>
                    <a:pt x="38" y="60"/>
                  </a:lnTo>
                  <a:lnTo>
                    <a:pt x="28" y="56"/>
                  </a:lnTo>
                  <a:lnTo>
                    <a:pt x="20" y="52"/>
                  </a:lnTo>
                  <a:lnTo>
                    <a:pt x="12" y="46"/>
                  </a:lnTo>
                  <a:lnTo>
                    <a:pt x="6" y="42"/>
                  </a:lnTo>
                  <a:lnTo>
                    <a:pt x="2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8" y="4"/>
                  </a:lnTo>
                  <a:lnTo>
                    <a:pt x="28" y="2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7E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261"/>
            <p:cNvSpPr>
              <a:spLocks/>
            </p:cNvSpPr>
            <p:nvPr/>
          </p:nvSpPr>
          <p:spPr bwMode="auto">
            <a:xfrm>
              <a:off x="4350" y="2803"/>
              <a:ext cx="100" cy="60"/>
            </a:xfrm>
            <a:custGeom>
              <a:avLst/>
              <a:gdLst>
                <a:gd name="T0" fmla="*/ 54 w 100"/>
                <a:gd name="T1" fmla="*/ 0 h 60"/>
                <a:gd name="T2" fmla="*/ 54 w 100"/>
                <a:gd name="T3" fmla="*/ 0 h 60"/>
                <a:gd name="T4" fmla="*/ 64 w 100"/>
                <a:gd name="T5" fmla="*/ 2 h 60"/>
                <a:gd name="T6" fmla="*/ 74 w 100"/>
                <a:gd name="T7" fmla="*/ 6 h 60"/>
                <a:gd name="T8" fmla="*/ 82 w 100"/>
                <a:gd name="T9" fmla="*/ 10 h 60"/>
                <a:gd name="T10" fmla="*/ 90 w 100"/>
                <a:gd name="T11" fmla="*/ 14 h 60"/>
                <a:gd name="T12" fmla="*/ 94 w 100"/>
                <a:gd name="T13" fmla="*/ 20 h 60"/>
                <a:gd name="T14" fmla="*/ 98 w 100"/>
                <a:gd name="T15" fmla="*/ 26 h 60"/>
                <a:gd name="T16" fmla="*/ 100 w 100"/>
                <a:gd name="T17" fmla="*/ 32 h 60"/>
                <a:gd name="T18" fmla="*/ 100 w 100"/>
                <a:gd name="T19" fmla="*/ 38 h 60"/>
                <a:gd name="T20" fmla="*/ 100 w 100"/>
                <a:gd name="T21" fmla="*/ 38 h 60"/>
                <a:gd name="T22" fmla="*/ 100 w 100"/>
                <a:gd name="T23" fmla="*/ 44 h 60"/>
                <a:gd name="T24" fmla="*/ 96 w 100"/>
                <a:gd name="T25" fmla="*/ 48 h 60"/>
                <a:gd name="T26" fmla="*/ 90 w 100"/>
                <a:gd name="T27" fmla="*/ 52 h 60"/>
                <a:gd name="T28" fmla="*/ 84 w 100"/>
                <a:gd name="T29" fmla="*/ 56 h 60"/>
                <a:gd name="T30" fmla="*/ 76 w 100"/>
                <a:gd name="T31" fmla="*/ 58 h 60"/>
                <a:gd name="T32" fmla="*/ 66 w 100"/>
                <a:gd name="T33" fmla="*/ 60 h 60"/>
                <a:gd name="T34" fmla="*/ 56 w 100"/>
                <a:gd name="T35" fmla="*/ 60 h 60"/>
                <a:gd name="T36" fmla="*/ 46 w 100"/>
                <a:gd name="T37" fmla="*/ 60 h 60"/>
                <a:gd name="T38" fmla="*/ 46 w 100"/>
                <a:gd name="T39" fmla="*/ 60 h 60"/>
                <a:gd name="T40" fmla="*/ 36 w 100"/>
                <a:gd name="T41" fmla="*/ 58 h 60"/>
                <a:gd name="T42" fmla="*/ 26 w 100"/>
                <a:gd name="T43" fmla="*/ 54 h 60"/>
                <a:gd name="T44" fmla="*/ 18 w 100"/>
                <a:gd name="T45" fmla="*/ 50 h 60"/>
                <a:gd name="T46" fmla="*/ 12 w 100"/>
                <a:gd name="T47" fmla="*/ 46 h 60"/>
                <a:gd name="T48" fmla="*/ 6 w 100"/>
                <a:gd name="T49" fmla="*/ 40 h 60"/>
                <a:gd name="T50" fmla="*/ 2 w 100"/>
                <a:gd name="T51" fmla="*/ 34 h 60"/>
                <a:gd name="T52" fmla="*/ 0 w 100"/>
                <a:gd name="T53" fmla="*/ 28 h 60"/>
                <a:gd name="T54" fmla="*/ 0 w 100"/>
                <a:gd name="T55" fmla="*/ 22 h 60"/>
                <a:gd name="T56" fmla="*/ 0 w 100"/>
                <a:gd name="T57" fmla="*/ 22 h 60"/>
                <a:gd name="T58" fmla="*/ 2 w 100"/>
                <a:gd name="T59" fmla="*/ 16 h 60"/>
                <a:gd name="T60" fmla="*/ 6 w 100"/>
                <a:gd name="T61" fmla="*/ 12 h 60"/>
                <a:gd name="T62" fmla="*/ 12 w 100"/>
                <a:gd name="T63" fmla="*/ 8 h 60"/>
                <a:gd name="T64" fmla="*/ 18 w 100"/>
                <a:gd name="T65" fmla="*/ 4 h 60"/>
                <a:gd name="T66" fmla="*/ 26 w 100"/>
                <a:gd name="T67" fmla="*/ 2 h 60"/>
                <a:gd name="T68" fmla="*/ 34 w 100"/>
                <a:gd name="T69" fmla="*/ 0 h 60"/>
                <a:gd name="T70" fmla="*/ 44 w 100"/>
                <a:gd name="T71" fmla="*/ 0 h 60"/>
                <a:gd name="T72" fmla="*/ 54 w 100"/>
                <a:gd name="T73" fmla="*/ 0 h 60"/>
                <a:gd name="T74" fmla="*/ 54 w 100"/>
                <a:gd name="T75" fmla="*/ 0 h 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0"/>
                <a:gd name="T115" fmla="*/ 0 h 60"/>
                <a:gd name="T116" fmla="*/ 100 w 100"/>
                <a:gd name="T117" fmla="*/ 60 h 6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0" h="60">
                  <a:moveTo>
                    <a:pt x="54" y="0"/>
                  </a:moveTo>
                  <a:lnTo>
                    <a:pt x="54" y="0"/>
                  </a:lnTo>
                  <a:lnTo>
                    <a:pt x="64" y="2"/>
                  </a:lnTo>
                  <a:lnTo>
                    <a:pt x="74" y="6"/>
                  </a:lnTo>
                  <a:lnTo>
                    <a:pt x="82" y="10"/>
                  </a:lnTo>
                  <a:lnTo>
                    <a:pt x="90" y="14"/>
                  </a:lnTo>
                  <a:lnTo>
                    <a:pt x="94" y="20"/>
                  </a:lnTo>
                  <a:lnTo>
                    <a:pt x="98" y="26"/>
                  </a:lnTo>
                  <a:lnTo>
                    <a:pt x="100" y="32"/>
                  </a:lnTo>
                  <a:lnTo>
                    <a:pt x="100" y="38"/>
                  </a:lnTo>
                  <a:lnTo>
                    <a:pt x="100" y="44"/>
                  </a:lnTo>
                  <a:lnTo>
                    <a:pt x="96" y="48"/>
                  </a:lnTo>
                  <a:lnTo>
                    <a:pt x="90" y="52"/>
                  </a:lnTo>
                  <a:lnTo>
                    <a:pt x="84" y="56"/>
                  </a:lnTo>
                  <a:lnTo>
                    <a:pt x="76" y="58"/>
                  </a:lnTo>
                  <a:lnTo>
                    <a:pt x="66" y="60"/>
                  </a:lnTo>
                  <a:lnTo>
                    <a:pt x="56" y="60"/>
                  </a:lnTo>
                  <a:lnTo>
                    <a:pt x="46" y="60"/>
                  </a:lnTo>
                  <a:lnTo>
                    <a:pt x="36" y="58"/>
                  </a:lnTo>
                  <a:lnTo>
                    <a:pt x="26" y="54"/>
                  </a:lnTo>
                  <a:lnTo>
                    <a:pt x="18" y="50"/>
                  </a:lnTo>
                  <a:lnTo>
                    <a:pt x="12" y="46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2" y="16"/>
                  </a:lnTo>
                  <a:lnTo>
                    <a:pt x="6" y="12"/>
                  </a:lnTo>
                  <a:lnTo>
                    <a:pt x="12" y="8"/>
                  </a:lnTo>
                  <a:lnTo>
                    <a:pt x="18" y="4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7E8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262"/>
            <p:cNvSpPr>
              <a:spLocks/>
            </p:cNvSpPr>
            <p:nvPr/>
          </p:nvSpPr>
          <p:spPr bwMode="auto">
            <a:xfrm>
              <a:off x="4352" y="2803"/>
              <a:ext cx="96" cy="58"/>
            </a:xfrm>
            <a:custGeom>
              <a:avLst/>
              <a:gdLst>
                <a:gd name="T0" fmla="*/ 52 w 96"/>
                <a:gd name="T1" fmla="*/ 2 h 58"/>
                <a:gd name="T2" fmla="*/ 52 w 96"/>
                <a:gd name="T3" fmla="*/ 2 h 58"/>
                <a:gd name="T4" fmla="*/ 72 w 96"/>
                <a:gd name="T5" fmla="*/ 6 h 58"/>
                <a:gd name="T6" fmla="*/ 86 w 96"/>
                <a:gd name="T7" fmla="*/ 14 h 58"/>
                <a:gd name="T8" fmla="*/ 90 w 96"/>
                <a:gd name="T9" fmla="*/ 20 h 58"/>
                <a:gd name="T10" fmla="*/ 94 w 96"/>
                <a:gd name="T11" fmla="*/ 26 h 58"/>
                <a:gd name="T12" fmla="*/ 96 w 96"/>
                <a:gd name="T13" fmla="*/ 30 h 58"/>
                <a:gd name="T14" fmla="*/ 96 w 96"/>
                <a:gd name="T15" fmla="*/ 36 h 58"/>
                <a:gd name="T16" fmla="*/ 96 w 96"/>
                <a:gd name="T17" fmla="*/ 36 h 58"/>
                <a:gd name="T18" fmla="*/ 96 w 96"/>
                <a:gd name="T19" fmla="*/ 42 h 58"/>
                <a:gd name="T20" fmla="*/ 92 w 96"/>
                <a:gd name="T21" fmla="*/ 48 h 58"/>
                <a:gd name="T22" fmla="*/ 86 w 96"/>
                <a:gd name="T23" fmla="*/ 52 h 58"/>
                <a:gd name="T24" fmla="*/ 80 w 96"/>
                <a:gd name="T25" fmla="*/ 54 h 58"/>
                <a:gd name="T26" fmla="*/ 64 w 96"/>
                <a:gd name="T27" fmla="*/ 58 h 58"/>
                <a:gd name="T28" fmla="*/ 44 w 96"/>
                <a:gd name="T29" fmla="*/ 58 h 58"/>
                <a:gd name="T30" fmla="*/ 44 w 96"/>
                <a:gd name="T31" fmla="*/ 58 h 58"/>
                <a:gd name="T32" fmla="*/ 26 w 96"/>
                <a:gd name="T33" fmla="*/ 52 h 58"/>
                <a:gd name="T34" fmla="*/ 12 w 96"/>
                <a:gd name="T35" fmla="*/ 44 h 58"/>
                <a:gd name="T36" fmla="*/ 6 w 96"/>
                <a:gd name="T37" fmla="*/ 40 h 58"/>
                <a:gd name="T38" fmla="*/ 2 w 96"/>
                <a:gd name="T39" fmla="*/ 34 h 58"/>
                <a:gd name="T40" fmla="*/ 0 w 96"/>
                <a:gd name="T41" fmla="*/ 28 h 58"/>
                <a:gd name="T42" fmla="*/ 0 w 96"/>
                <a:gd name="T43" fmla="*/ 22 h 58"/>
                <a:gd name="T44" fmla="*/ 0 w 96"/>
                <a:gd name="T45" fmla="*/ 22 h 58"/>
                <a:gd name="T46" fmla="*/ 2 w 96"/>
                <a:gd name="T47" fmla="*/ 16 h 58"/>
                <a:gd name="T48" fmla="*/ 6 w 96"/>
                <a:gd name="T49" fmla="*/ 12 h 58"/>
                <a:gd name="T50" fmla="*/ 10 w 96"/>
                <a:gd name="T51" fmla="*/ 8 h 58"/>
                <a:gd name="T52" fmla="*/ 18 w 96"/>
                <a:gd name="T53" fmla="*/ 4 h 58"/>
                <a:gd name="T54" fmla="*/ 34 w 96"/>
                <a:gd name="T55" fmla="*/ 0 h 58"/>
                <a:gd name="T56" fmla="*/ 52 w 96"/>
                <a:gd name="T57" fmla="*/ 2 h 58"/>
                <a:gd name="T58" fmla="*/ 52 w 96"/>
                <a:gd name="T59" fmla="*/ 2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6"/>
                <a:gd name="T91" fmla="*/ 0 h 58"/>
                <a:gd name="T92" fmla="*/ 96 w 96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6" h="58">
                  <a:moveTo>
                    <a:pt x="52" y="2"/>
                  </a:moveTo>
                  <a:lnTo>
                    <a:pt x="52" y="2"/>
                  </a:lnTo>
                  <a:lnTo>
                    <a:pt x="72" y="6"/>
                  </a:lnTo>
                  <a:lnTo>
                    <a:pt x="86" y="14"/>
                  </a:lnTo>
                  <a:lnTo>
                    <a:pt x="90" y="20"/>
                  </a:lnTo>
                  <a:lnTo>
                    <a:pt x="94" y="26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2" y="48"/>
                  </a:lnTo>
                  <a:lnTo>
                    <a:pt x="86" y="52"/>
                  </a:lnTo>
                  <a:lnTo>
                    <a:pt x="80" y="54"/>
                  </a:lnTo>
                  <a:lnTo>
                    <a:pt x="64" y="58"/>
                  </a:lnTo>
                  <a:lnTo>
                    <a:pt x="44" y="58"/>
                  </a:lnTo>
                  <a:lnTo>
                    <a:pt x="26" y="52"/>
                  </a:lnTo>
                  <a:lnTo>
                    <a:pt x="12" y="44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2" y="16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8" y="4"/>
                  </a:lnTo>
                  <a:lnTo>
                    <a:pt x="34" y="0"/>
                  </a:lnTo>
                  <a:lnTo>
                    <a:pt x="52" y="2"/>
                  </a:lnTo>
                  <a:close/>
                </a:path>
              </a:pathLst>
            </a:custGeom>
            <a:solidFill>
              <a:srgbClr val="F7E8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263"/>
            <p:cNvSpPr>
              <a:spLocks/>
            </p:cNvSpPr>
            <p:nvPr/>
          </p:nvSpPr>
          <p:spPr bwMode="auto">
            <a:xfrm>
              <a:off x="4354" y="2805"/>
              <a:ext cx="92" cy="54"/>
            </a:xfrm>
            <a:custGeom>
              <a:avLst/>
              <a:gdLst>
                <a:gd name="T0" fmla="*/ 50 w 92"/>
                <a:gd name="T1" fmla="*/ 0 h 54"/>
                <a:gd name="T2" fmla="*/ 50 w 92"/>
                <a:gd name="T3" fmla="*/ 0 h 54"/>
                <a:gd name="T4" fmla="*/ 68 w 92"/>
                <a:gd name="T5" fmla="*/ 4 h 54"/>
                <a:gd name="T6" fmla="*/ 82 w 92"/>
                <a:gd name="T7" fmla="*/ 12 h 54"/>
                <a:gd name="T8" fmla="*/ 88 w 92"/>
                <a:gd name="T9" fmla="*/ 18 h 54"/>
                <a:gd name="T10" fmla="*/ 90 w 92"/>
                <a:gd name="T11" fmla="*/ 22 h 54"/>
                <a:gd name="T12" fmla="*/ 92 w 92"/>
                <a:gd name="T13" fmla="*/ 28 h 54"/>
                <a:gd name="T14" fmla="*/ 92 w 92"/>
                <a:gd name="T15" fmla="*/ 34 h 54"/>
                <a:gd name="T16" fmla="*/ 92 w 92"/>
                <a:gd name="T17" fmla="*/ 34 h 54"/>
                <a:gd name="T18" fmla="*/ 92 w 92"/>
                <a:gd name="T19" fmla="*/ 40 h 54"/>
                <a:gd name="T20" fmla="*/ 88 w 92"/>
                <a:gd name="T21" fmla="*/ 44 h 54"/>
                <a:gd name="T22" fmla="*/ 82 w 92"/>
                <a:gd name="T23" fmla="*/ 48 h 54"/>
                <a:gd name="T24" fmla="*/ 76 w 92"/>
                <a:gd name="T25" fmla="*/ 50 h 54"/>
                <a:gd name="T26" fmla="*/ 60 w 92"/>
                <a:gd name="T27" fmla="*/ 54 h 54"/>
                <a:gd name="T28" fmla="*/ 42 w 92"/>
                <a:gd name="T29" fmla="*/ 54 h 54"/>
                <a:gd name="T30" fmla="*/ 42 w 92"/>
                <a:gd name="T31" fmla="*/ 54 h 54"/>
                <a:gd name="T32" fmla="*/ 24 w 92"/>
                <a:gd name="T33" fmla="*/ 50 h 54"/>
                <a:gd name="T34" fmla="*/ 12 w 92"/>
                <a:gd name="T35" fmla="*/ 42 h 54"/>
                <a:gd name="T36" fmla="*/ 6 w 92"/>
                <a:gd name="T37" fmla="*/ 36 h 54"/>
                <a:gd name="T38" fmla="*/ 2 w 92"/>
                <a:gd name="T39" fmla="*/ 32 h 54"/>
                <a:gd name="T40" fmla="*/ 0 w 92"/>
                <a:gd name="T41" fmla="*/ 26 h 54"/>
                <a:gd name="T42" fmla="*/ 0 w 92"/>
                <a:gd name="T43" fmla="*/ 20 h 54"/>
                <a:gd name="T44" fmla="*/ 0 w 92"/>
                <a:gd name="T45" fmla="*/ 20 h 54"/>
                <a:gd name="T46" fmla="*/ 2 w 92"/>
                <a:gd name="T47" fmla="*/ 14 h 54"/>
                <a:gd name="T48" fmla="*/ 6 w 92"/>
                <a:gd name="T49" fmla="*/ 10 h 54"/>
                <a:gd name="T50" fmla="*/ 10 w 92"/>
                <a:gd name="T51" fmla="*/ 6 h 54"/>
                <a:gd name="T52" fmla="*/ 16 w 92"/>
                <a:gd name="T53" fmla="*/ 4 h 54"/>
                <a:gd name="T54" fmla="*/ 32 w 92"/>
                <a:gd name="T55" fmla="*/ 0 h 54"/>
                <a:gd name="T56" fmla="*/ 50 w 92"/>
                <a:gd name="T57" fmla="*/ 0 h 54"/>
                <a:gd name="T58" fmla="*/ 50 w 92"/>
                <a:gd name="T59" fmla="*/ 0 h 5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2"/>
                <a:gd name="T91" fmla="*/ 0 h 54"/>
                <a:gd name="T92" fmla="*/ 92 w 92"/>
                <a:gd name="T93" fmla="*/ 54 h 5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2" h="54">
                  <a:moveTo>
                    <a:pt x="50" y="0"/>
                  </a:moveTo>
                  <a:lnTo>
                    <a:pt x="50" y="0"/>
                  </a:lnTo>
                  <a:lnTo>
                    <a:pt x="68" y="4"/>
                  </a:lnTo>
                  <a:lnTo>
                    <a:pt x="82" y="12"/>
                  </a:lnTo>
                  <a:lnTo>
                    <a:pt x="88" y="18"/>
                  </a:lnTo>
                  <a:lnTo>
                    <a:pt x="90" y="22"/>
                  </a:lnTo>
                  <a:lnTo>
                    <a:pt x="92" y="28"/>
                  </a:lnTo>
                  <a:lnTo>
                    <a:pt x="92" y="34"/>
                  </a:lnTo>
                  <a:lnTo>
                    <a:pt x="92" y="40"/>
                  </a:lnTo>
                  <a:lnTo>
                    <a:pt x="88" y="44"/>
                  </a:lnTo>
                  <a:lnTo>
                    <a:pt x="82" y="48"/>
                  </a:lnTo>
                  <a:lnTo>
                    <a:pt x="76" y="50"/>
                  </a:lnTo>
                  <a:lnTo>
                    <a:pt x="60" y="54"/>
                  </a:lnTo>
                  <a:lnTo>
                    <a:pt x="42" y="54"/>
                  </a:lnTo>
                  <a:lnTo>
                    <a:pt x="24" y="50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2" y="32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6" y="10"/>
                  </a:lnTo>
                  <a:lnTo>
                    <a:pt x="10" y="6"/>
                  </a:lnTo>
                  <a:lnTo>
                    <a:pt x="16" y="4"/>
                  </a:lnTo>
                  <a:lnTo>
                    <a:pt x="32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7E5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264"/>
            <p:cNvSpPr>
              <a:spLocks/>
            </p:cNvSpPr>
            <p:nvPr/>
          </p:nvSpPr>
          <p:spPr bwMode="auto">
            <a:xfrm>
              <a:off x="4356" y="2805"/>
              <a:ext cx="88" cy="52"/>
            </a:xfrm>
            <a:custGeom>
              <a:avLst/>
              <a:gdLst>
                <a:gd name="T0" fmla="*/ 48 w 88"/>
                <a:gd name="T1" fmla="*/ 0 h 52"/>
                <a:gd name="T2" fmla="*/ 48 w 88"/>
                <a:gd name="T3" fmla="*/ 0 h 52"/>
                <a:gd name="T4" fmla="*/ 66 w 88"/>
                <a:gd name="T5" fmla="*/ 6 h 52"/>
                <a:gd name="T6" fmla="*/ 78 w 88"/>
                <a:gd name="T7" fmla="*/ 12 h 52"/>
                <a:gd name="T8" fmla="*/ 84 w 88"/>
                <a:gd name="T9" fmla="*/ 18 h 52"/>
                <a:gd name="T10" fmla="*/ 86 w 88"/>
                <a:gd name="T11" fmla="*/ 22 h 52"/>
                <a:gd name="T12" fmla="*/ 88 w 88"/>
                <a:gd name="T13" fmla="*/ 28 h 52"/>
                <a:gd name="T14" fmla="*/ 88 w 88"/>
                <a:gd name="T15" fmla="*/ 32 h 52"/>
                <a:gd name="T16" fmla="*/ 88 w 88"/>
                <a:gd name="T17" fmla="*/ 32 h 52"/>
                <a:gd name="T18" fmla="*/ 88 w 88"/>
                <a:gd name="T19" fmla="*/ 38 h 52"/>
                <a:gd name="T20" fmla="*/ 84 w 88"/>
                <a:gd name="T21" fmla="*/ 42 h 52"/>
                <a:gd name="T22" fmla="*/ 80 w 88"/>
                <a:gd name="T23" fmla="*/ 46 h 52"/>
                <a:gd name="T24" fmla="*/ 74 w 88"/>
                <a:gd name="T25" fmla="*/ 50 h 52"/>
                <a:gd name="T26" fmla="*/ 58 w 88"/>
                <a:gd name="T27" fmla="*/ 52 h 52"/>
                <a:gd name="T28" fmla="*/ 40 w 88"/>
                <a:gd name="T29" fmla="*/ 52 h 52"/>
                <a:gd name="T30" fmla="*/ 40 w 88"/>
                <a:gd name="T31" fmla="*/ 52 h 52"/>
                <a:gd name="T32" fmla="*/ 24 w 88"/>
                <a:gd name="T33" fmla="*/ 48 h 52"/>
                <a:gd name="T34" fmla="*/ 10 w 88"/>
                <a:gd name="T35" fmla="*/ 40 h 52"/>
                <a:gd name="T36" fmla="*/ 6 w 88"/>
                <a:gd name="T37" fmla="*/ 36 h 52"/>
                <a:gd name="T38" fmla="*/ 2 w 88"/>
                <a:gd name="T39" fmla="*/ 30 h 52"/>
                <a:gd name="T40" fmla="*/ 0 w 88"/>
                <a:gd name="T41" fmla="*/ 26 h 52"/>
                <a:gd name="T42" fmla="*/ 0 w 88"/>
                <a:gd name="T43" fmla="*/ 20 h 52"/>
                <a:gd name="T44" fmla="*/ 0 w 88"/>
                <a:gd name="T45" fmla="*/ 20 h 52"/>
                <a:gd name="T46" fmla="*/ 2 w 88"/>
                <a:gd name="T47" fmla="*/ 14 h 52"/>
                <a:gd name="T48" fmla="*/ 6 w 88"/>
                <a:gd name="T49" fmla="*/ 10 h 52"/>
                <a:gd name="T50" fmla="*/ 10 w 88"/>
                <a:gd name="T51" fmla="*/ 6 h 52"/>
                <a:gd name="T52" fmla="*/ 16 w 88"/>
                <a:gd name="T53" fmla="*/ 4 h 52"/>
                <a:gd name="T54" fmla="*/ 30 w 88"/>
                <a:gd name="T55" fmla="*/ 0 h 52"/>
                <a:gd name="T56" fmla="*/ 48 w 88"/>
                <a:gd name="T57" fmla="*/ 0 h 52"/>
                <a:gd name="T58" fmla="*/ 48 w 88"/>
                <a:gd name="T59" fmla="*/ 0 h 5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8"/>
                <a:gd name="T91" fmla="*/ 0 h 52"/>
                <a:gd name="T92" fmla="*/ 88 w 88"/>
                <a:gd name="T93" fmla="*/ 52 h 5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8" h="52">
                  <a:moveTo>
                    <a:pt x="48" y="0"/>
                  </a:move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84" y="18"/>
                  </a:lnTo>
                  <a:lnTo>
                    <a:pt x="86" y="22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8"/>
                  </a:lnTo>
                  <a:lnTo>
                    <a:pt x="84" y="42"/>
                  </a:lnTo>
                  <a:lnTo>
                    <a:pt x="80" y="46"/>
                  </a:lnTo>
                  <a:lnTo>
                    <a:pt x="74" y="50"/>
                  </a:lnTo>
                  <a:lnTo>
                    <a:pt x="58" y="52"/>
                  </a:lnTo>
                  <a:lnTo>
                    <a:pt x="40" y="52"/>
                  </a:lnTo>
                  <a:lnTo>
                    <a:pt x="24" y="48"/>
                  </a:lnTo>
                  <a:lnTo>
                    <a:pt x="10" y="40"/>
                  </a:lnTo>
                  <a:lnTo>
                    <a:pt x="6" y="36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6" y="10"/>
                  </a:lnTo>
                  <a:lnTo>
                    <a:pt x="10" y="6"/>
                  </a:lnTo>
                  <a:lnTo>
                    <a:pt x="16" y="4"/>
                  </a:lnTo>
                  <a:lnTo>
                    <a:pt x="3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7E5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265"/>
            <p:cNvSpPr>
              <a:spLocks/>
            </p:cNvSpPr>
            <p:nvPr/>
          </p:nvSpPr>
          <p:spPr bwMode="auto">
            <a:xfrm>
              <a:off x="4358" y="2805"/>
              <a:ext cx="84" cy="52"/>
            </a:xfrm>
            <a:custGeom>
              <a:avLst/>
              <a:gdLst>
                <a:gd name="T0" fmla="*/ 46 w 84"/>
                <a:gd name="T1" fmla="*/ 2 h 52"/>
                <a:gd name="T2" fmla="*/ 46 w 84"/>
                <a:gd name="T3" fmla="*/ 2 h 52"/>
                <a:gd name="T4" fmla="*/ 62 w 84"/>
                <a:gd name="T5" fmla="*/ 6 h 52"/>
                <a:gd name="T6" fmla="*/ 76 w 84"/>
                <a:gd name="T7" fmla="*/ 12 h 52"/>
                <a:gd name="T8" fmla="*/ 80 w 84"/>
                <a:gd name="T9" fmla="*/ 18 h 52"/>
                <a:gd name="T10" fmla="*/ 84 w 84"/>
                <a:gd name="T11" fmla="*/ 22 h 52"/>
                <a:gd name="T12" fmla="*/ 84 w 84"/>
                <a:gd name="T13" fmla="*/ 26 h 52"/>
                <a:gd name="T14" fmla="*/ 84 w 84"/>
                <a:gd name="T15" fmla="*/ 32 h 52"/>
                <a:gd name="T16" fmla="*/ 84 w 84"/>
                <a:gd name="T17" fmla="*/ 32 h 52"/>
                <a:gd name="T18" fmla="*/ 84 w 84"/>
                <a:gd name="T19" fmla="*/ 36 h 52"/>
                <a:gd name="T20" fmla="*/ 80 w 84"/>
                <a:gd name="T21" fmla="*/ 42 h 52"/>
                <a:gd name="T22" fmla="*/ 76 w 84"/>
                <a:gd name="T23" fmla="*/ 44 h 52"/>
                <a:gd name="T24" fmla="*/ 70 w 84"/>
                <a:gd name="T25" fmla="*/ 48 h 52"/>
                <a:gd name="T26" fmla="*/ 56 w 84"/>
                <a:gd name="T27" fmla="*/ 52 h 52"/>
                <a:gd name="T28" fmla="*/ 40 w 84"/>
                <a:gd name="T29" fmla="*/ 50 h 52"/>
                <a:gd name="T30" fmla="*/ 40 w 84"/>
                <a:gd name="T31" fmla="*/ 50 h 52"/>
                <a:gd name="T32" fmla="*/ 22 w 84"/>
                <a:gd name="T33" fmla="*/ 46 h 52"/>
                <a:gd name="T34" fmla="*/ 10 w 84"/>
                <a:gd name="T35" fmla="*/ 38 h 52"/>
                <a:gd name="T36" fmla="*/ 6 w 84"/>
                <a:gd name="T37" fmla="*/ 34 h 52"/>
                <a:gd name="T38" fmla="*/ 2 w 84"/>
                <a:gd name="T39" fmla="*/ 30 h 52"/>
                <a:gd name="T40" fmla="*/ 0 w 84"/>
                <a:gd name="T41" fmla="*/ 24 h 52"/>
                <a:gd name="T42" fmla="*/ 0 w 84"/>
                <a:gd name="T43" fmla="*/ 20 h 52"/>
                <a:gd name="T44" fmla="*/ 0 w 84"/>
                <a:gd name="T45" fmla="*/ 20 h 52"/>
                <a:gd name="T46" fmla="*/ 2 w 84"/>
                <a:gd name="T47" fmla="*/ 14 h 52"/>
                <a:gd name="T48" fmla="*/ 6 w 84"/>
                <a:gd name="T49" fmla="*/ 10 h 52"/>
                <a:gd name="T50" fmla="*/ 10 w 84"/>
                <a:gd name="T51" fmla="*/ 6 h 52"/>
                <a:gd name="T52" fmla="*/ 16 w 84"/>
                <a:gd name="T53" fmla="*/ 4 h 52"/>
                <a:gd name="T54" fmla="*/ 30 w 84"/>
                <a:gd name="T55" fmla="*/ 0 h 52"/>
                <a:gd name="T56" fmla="*/ 46 w 84"/>
                <a:gd name="T57" fmla="*/ 2 h 52"/>
                <a:gd name="T58" fmla="*/ 46 w 84"/>
                <a:gd name="T59" fmla="*/ 2 h 5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4"/>
                <a:gd name="T91" fmla="*/ 0 h 52"/>
                <a:gd name="T92" fmla="*/ 84 w 84"/>
                <a:gd name="T93" fmla="*/ 52 h 5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4" h="52">
                  <a:moveTo>
                    <a:pt x="46" y="2"/>
                  </a:moveTo>
                  <a:lnTo>
                    <a:pt x="46" y="2"/>
                  </a:lnTo>
                  <a:lnTo>
                    <a:pt x="62" y="6"/>
                  </a:lnTo>
                  <a:lnTo>
                    <a:pt x="76" y="12"/>
                  </a:lnTo>
                  <a:lnTo>
                    <a:pt x="80" y="18"/>
                  </a:lnTo>
                  <a:lnTo>
                    <a:pt x="84" y="22"/>
                  </a:lnTo>
                  <a:lnTo>
                    <a:pt x="84" y="26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42"/>
                  </a:lnTo>
                  <a:lnTo>
                    <a:pt x="76" y="44"/>
                  </a:lnTo>
                  <a:lnTo>
                    <a:pt x="70" y="48"/>
                  </a:lnTo>
                  <a:lnTo>
                    <a:pt x="56" y="52"/>
                  </a:lnTo>
                  <a:lnTo>
                    <a:pt x="40" y="50"/>
                  </a:lnTo>
                  <a:lnTo>
                    <a:pt x="22" y="46"/>
                  </a:lnTo>
                  <a:lnTo>
                    <a:pt x="10" y="38"/>
                  </a:lnTo>
                  <a:lnTo>
                    <a:pt x="6" y="34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6" y="10"/>
                  </a:lnTo>
                  <a:lnTo>
                    <a:pt x="10" y="6"/>
                  </a:lnTo>
                  <a:lnTo>
                    <a:pt x="16" y="4"/>
                  </a:lnTo>
                  <a:lnTo>
                    <a:pt x="30" y="0"/>
                  </a:lnTo>
                  <a:lnTo>
                    <a:pt x="46" y="2"/>
                  </a:lnTo>
                  <a:close/>
                </a:path>
              </a:pathLst>
            </a:custGeom>
            <a:solidFill>
              <a:srgbClr val="F7E3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266"/>
            <p:cNvSpPr>
              <a:spLocks/>
            </p:cNvSpPr>
            <p:nvPr/>
          </p:nvSpPr>
          <p:spPr bwMode="auto">
            <a:xfrm>
              <a:off x="4360" y="2807"/>
              <a:ext cx="80" cy="48"/>
            </a:xfrm>
            <a:custGeom>
              <a:avLst/>
              <a:gdLst>
                <a:gd name="T0" fmla="*/ 44 w 80"/>
                <a:gd name="T1" fmla="*/ 0 h 48"/>
                <a:gd name="T2" fmla="*/ 44 w 80"/>
                <a:gd name="T3" fmla="*/ 0 h 48"/>
                <a:gd name="T4" fmla="*/ 60 w 80"/>
                <a:gd name="T5" fmla="*/ 4 h 48"/>
                <a:gd name="T6" fmla="*/ 72 w 80"/>
                <a:gd name="T7" fmla="*/ 10 h 48"/>
                <a:gd name="T8" fmla="*/ 76 w 80"/>
                <a:gd name="T9" fmla="*/ 14 h 48"/>
                <a:gd name="T10" fmla="*/ 80 w 80"/>
                <a:gd name="T11" fmla="*/ 20 h 48"/>
                <a:gd name="T12" fmla="*/ 80 w 80"/>
                <a:gd name="T13" fmla="*/ 24 h 48"/>
                <a:gd name="T14" fmla="*/ 80 w 80"/>
                <a:gd name="T15" fmla="*/ 30 h 48"/>
                <a:gd name="T16" fmla="*/ 80 w 80"/>
                <a:gd name="T17" fmla="*/ 30 h 48"/>
                <a:gd name="T18" fmla="*/ 80 w 80"/>
                <a:gd name="T19" fmla="*/ 34 h 48"/>
                <a:gd name="T20" fmla="*/ 76 w 80"/>
                <a:gd name="T21" fmla="*/ 38 h 48"/>
                <a:gd name="T22" fmla="*/ 72 w 80"/>
                <a:gd name="T23" fmla="*/ 42 h 48"/>
                <a:gd name="T24" fmla="*/ 66 w 80"/>
                <a:gd name="T25" fmla="*/ 44 h 48"/>
                <a:gd name="T26" fmla="*/ 54 w 80"/>
                <a:gd name="T27" fmla="*/ 48 h 48"/>
                <a:gd name="T28" fmla="*/ 38 w 80"/>
                <a:gd name="T29" fmla="*/ 46 h 48"/>
                <a:gd name="T30" fmla="*/ 38 w 80"/>
                <a:gd name="T31" fmla="*/ 46 h 48"/>
                <a:gd name="T32" fmla="*/ 22 w 80"/>
                <a:gd name="T33" fmla="*/ 42 h 48"/>
                <a:gd name="T34" fmla="*/ 10 w 80"/>
                <a:gd name="T35" fmla="*/ 36 h 48"/>
                <a:gd name="T36" fmla="*/ 2 w 80"/>
                <a:gd name="T37" fmla="*/ 26 h 48"/>
                <a:gd name="T38" fmla="*/ 0 w 80"/>
                <a:gd name="T39" fmla="*/ 22 h 48"/>
                <a:gd name="T40" fmla="*/ 0 w 80"/>
                <a:gd name="T41" fmla="*/ 18 h 48"/>
                <a:gd name="T42" fmla="*/ 0 w 80"/>
                <a:gd name="T43" fmla="*/ 18 h 48"/>
                <a:gd name="T44" fmla="*/ 2 w 80"/>
                <a:gd name="T45" fmla="*/ 12 h 48"/>
                <a:gd name="T46" fmla="*/ 4 w 80"/>
                <a:gd name="T47" fmla="*/ 8 h 48"/>
                <a:gd name="T48" fmla="*/ 10 w 80"/>
                <a:gd name="T49" fmla="*/ 6 h 48"/>
                <a:gd name="T50" fmla="*/ 14 w 80"/>
                <a:gd name="T51" fmla="*/ 2 h 48"/>
                <a:gd name="T52" fmla="*/ 28 w 80"/>
                <a:gd name="T53" fmla="*/ 0 h 48"/>
                <a:gd name="T54" fmla="*/ 44 w 80"/>
                <a:gd name="T55" fmla="*/ 0 h 48"/>
                <a:gd name="T56" fmla="*/ 44 w 80"/>
                <a:gd name="T57" fmla="*/ 0 h 4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0"/>
                <a:gd name="T88" fmla="*/ 0 h 48"/>
                <a:gd name="T89" fmla="*/ 80 w 80"/>
                <a:gd name="T90" fmla="*/ 48 h 4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0" h="48">
                  <a:moveTo>
                    <a:pt x="44" y="0"/>
                  </a:moveTo>
                  <a:lnTo>
                    <a:pt x="44" y="0"/>
                  </a:lnTo>
                  <a:lnTo>
                    <a:pt x="60" y="4"/>
                  </a:lnTo>
                  <a:lnTo>
                    <a:pt x="72" y="10"/>
                  </a:lnTo>
                  <a:lnTo>
                    <a:pt x="76" y="1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30"/>
                  </a:lnTo>
                  <a:lnTo>
                    <a:pt x="80" y="34"/>
                  </a:lnTo>
                  <a:lnTo>
                    <a:pt x="76" y="38"/>
                  </a:lnTo>
                  <a:lnTo>
                    <a:pt x="72" y="42"/>
                  </a:lnTo>
                  <a:lnTo>
                    <a:pt x="66" y="44"/>
                  </a:lnTo>
                  <a:lnTo>
                    <a:pt x="54" y="48"/>
                  </a:lnTo>
                  <a:lnTo>
                    <a:pt x="38" y="46"/>
                  </a:lnTo>
                  <a:lnTo>
                    <a:pt x="22" y="42"/>
                  </a:lnTo>
                  <a:lnTo>
                    <a:pt x="10" y="36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4" y="8"/>
                  </a:lnTo>
                  <a:lnTo>
                    <a:pt x="10" y="6"/>
                  </a:lnTo>
                  <a:lnTo>
                    <a:pt x="14" y="2"/>
                  </a:lnTo>
                  <a:lnTo>
                    <a:pt x="28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7E1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267"/>
            <p:cNvSpPr>
              <a:spLocks/>
            </p:cNvSpPr>
            <p:nvPr/>
          </p:nvSpPr>
          <p:spPr bwMode="auto">
            <a:xfrm>
              <a:off x="4362" y="2807"/>
              <a:ext cx="76" cy="46"/>
            </a:xfrm>
            <a:custGeom>
              <a:avLst/>
              <a:gdLst>
                <a:gd name="T0" fmla="*/ 42 w 76"/>
                <a:gd name="T1" fmla="*/ 0 h 46"/>
                <a:gd name="T2" fmla="*/ 42 w 76"/>
                <a:gd name="T3" fmla="*/ 0 h 46"/>
                <a:gd name="T4" fmla="*/ 56 w 76"/>
                <a:gd name="T5" fmla="*/ 4 h 46"/>
                <a:gd name="T6" fmla="*/ 68 w 76"/>
                <a:gd name="T7" fmla="*/ 10 h 46"/>
                <a:gd name="T8" fmla="*/ 76 w 76"/>
                <a:gd name="T9" fmla="*/ 20 h 46"/>
                <a:gd name="T10" fmla="*/ 76 w 76"/>
                <a:gd name="T11" fmla="*/ 24 h 46"/>
                <a:gd name="T12" fmla="*/ 76 w 76"/>
                <a:gd name="T13" fmla="*/ 28 h 46"/>
                <a:gd name="T14" fmla="*/ 76 w 76"/>
                <a:gd name="T15" fmla="*/ 28 h 46"/>
                <a:gd name="T16" fmla="*/ 76 w 76"/>
                <a:gd name="T17" fmla="*/ 32 h 46"/>
                <a:gd name="T18" fmla="*/ 72 w 76"/>
                <a:gd name="T19" fmla="*/ 36 h 46"/>
                <a:gd name="T20" fmla="*/ 64 w 76"/>
                <a:gd name="T21" fmla="*/ 42 h 46"/>
                <a:gd name="T22" fmla="*/ 50 w 76"/>
                <a:gd name="T23" fmla="*/ 46 h 46"/>
                <a:gd name="T24" fmla="*/ 36 w 76"/>
                <a:gd name="T25" fmla="*/ 44 h 46"/>
                <a:gd name="T26" fmla="*/ 36 w 76"/>
                <a:gd name="T27" fmla="*/ 44 h 46"/>
                <a:gd name="T28" fmla="*/ 20 w 76"/>
                <a:gd name="T29" fmla="*/ 42 h 46"/>
                <a:gd name="T30" fmla="*/ 10 w 76"/>
                <a:gd name="T31" fmla="*/ 34 h 46"/>
                <a:gd name="T32" fmla="*/ 2 w 76"/>
                <a:gd name="T33" fmla="*/ 26 h 46"/>
                <a:gd name="T34" fmla="*/ 0 w 76"/>
                <a:gd name="T35" fmla="*/ 22 h 46"/>
                <a:gd name="T36" fmla="*/ 0 w 76"/>
                <a:gd name="T37" fmla="*/ 16 h 46"/>
                <a:gd name="T38" fmla="*/ 0 w 76"/>
                <a:gd name="T39" fmla="*/ 16 h 46"/>
                <a:gd name="T40" fmla="*/ 2 w 76"/>
                <a:gd name="T41" fmla="*/ 12 h 46"/>
                <a:gd name="T42" fmla="*/ 4 w 76"/>
                <a:gd name="T43" fmla="*/ 8 h 46"/>
                <a:gd name="T44" fmla="*/ 14 w 76"/>
                <a:gd name="T45" fmla="*/ 2 h 46"/>
                <a:gd name="T46" fmla="*/ 26 w 76"/>
                <a:gd name="T47" fmla="*/ 0 h 46"/>
                <a:gd name="T48" fmla="*/ 42 w 76"/>
                <a:gd name="T49" fmla="*/ 0 h 46"/>
                <a:gd name="T50" fmla="*/ 42 w 76"/>
                <a:gd name="T51" fmla="*/ 0 h 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6"/>
                <a:gd name="T79" fmla="*/ 0 h 46"/>
                <a:gd name="T80" fmla="*/ 76 w 76"/>
                <a:gd name="T81" fmla="*/ 46 h 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6" h="46">
                  <a:moveTo>
                    <a:pt x="42" y="0"/>
                  </a:moveTo>
                  <a:lnTo>
                    <a:pt x="42" y="0"/>
                  </a:lnTo>
                  <a:lnTo>
                    <a:pt x="56" y="4"/>
                  </a:lnTo>
                  <a:lnTo>
                    <a:pt x="68" y="1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64" y="42"/>
                  </a:lnTo>
                  <a:lnTo>
                    <a:pt x="50" y="46"/>
                  </a:lnTo>
                  <a:lnTo>
                    <a:pt x="36" y="44"/>
                  </a:lnTo>
                  <a:lnTo>
                    <a:pt x="20" y="42"/>
                  </a:lnTo>
                  <a:lnTo>
                    <a:pt x="10" y="34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4" y="8"/>
                  </a:lnTo>
                  <a:lnTo>
                    <a:pt x="14" y="2"/>
                  </a:lnTo>
                  <a:lnTo>
                    <a:pt x="26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F7E1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268"/>
            <p:cNvSpPr>
              <a:spLocks/>
            </p:cNvSpPr>
            <p:nvPr/>
          </p:nvSpPr>
          <p:spPr bwMode="auto">
            <a:xfrm>
              <a:off x="4364" y="2807"/>
              <a:ext cx="72" cy="44"/>
            </a:xfrm>
            <a:custGeom>
              <a:avLst/>
              <a:gdLst>
                <a:gd name="T0" fmla="*/ 40 w 72"/>
                <a:gd name="T1" fmla="*/ 0 h 44"/>
                <a:gd name="T2" fmla="*/ 40 w 72"/>
                <a:gd name="T3" fmla="*/ 0 h 44"/>
                <a:gd name="T4" fmla="*/ 54 w 72"/>
                <a:gd name="T5" fmla="*/ 4 h 44"/>
                <a:gd name="T6" fmla="*/ 64 w 72"/>
                <a:gd name="T7" fmla="*/ 10 h 44"/>
                <a:gd name="T8" fmla="*/ 72 w 72"/>
                <a:gd name="T9" fmla="*/ 18 h 44"/>
                <a:gd name="T10" fmla="*/ 72 w 72"/>
                <a:gd name="T11" fmla="*/ 22 h 44"/>
                <a:gd name="T12" fmla="*/ 72 w 72"/>
                <a:gd name="T13" fmla="*/ 28 h 44"/>
                <a:gd name="T14" fmla="*/ 72 w 72"/>
                <a:gd name="T15" fmla="*/ 28 h 44"/>
                <a:gd name="T16" fmla="*/ 72 w 72"/>
                <a:gd name="T17" fmla="*/ 32 h 44"/>
                <a:gd name="T18" fmla="*/ 68 w 72"/>
                <a:gd name="T19" fmla="*/ 36 h 44"/>
                <a:gd name="T20" fmla="*/ 60 w 72"/>
                <a:gd name="T21" fmla="*/ 40 h 44"/>
                <a:gd name="T22" fmla="*/ 48 w 72"/>
                <a:gd name="T23" fmla="*/ 44 h 44"/>
                <a:gd name="T24" fmla="*/ 34 w 72"/>
                <a:gd name="T25" fmla="*/ 44 h 44"/>
                <a:gd name="T26" fmla="*/ 34 w 72"/>
                <a:gd name="T27" fmla="*/ 44 h 44"/>
                <a:gd name="T28" fmla="*/ 20 w 72"/>
                <a:gd name="T29" fmla="*/ 40 h 44"/>
                <a:gd name="T30" fmla="*/ 8 w 72"/>
                <a:gd name="T31" fmla="*/ 34 h 44"/>
                <a:gd name="T32" fmla="*/ 2 w 72"/>
                <a:gd name="T33" fmla="*/ 26 h 44"/>
                <a:gd name="T34" fmla="*/ 0 w 72"/>
                <a:gd name="T35" fmla="*/ 22 h 44"/>
                <a:gd name="T36" fmla="*/ 0 w 72"/>
                <a:gd name="T37" fmla="*/ 16 h 44"/>
                <a:gd name="T38" fmla="*/ 0 w 72"/>
                <a:gd name="T39" fmla="*/ 16 h 44"/>
                <a:gd name="T40" fmla="*/ 2 w 72"/>
                <a:gd name="T41" fmla="*/ 12 h 44"/>
                <a:gd name="T42" fmla="*/ 4 w 72"/>
                <a:gd name="T43" fmla="*/ 8 h 44"/>
                <a:gd name="T44" fmla="*/ 14 w 72"/>
                <a:gd name="T45" fmla="*/ 4 h 44"/>
                <a:gd name="T46" fmla="*/ 26 w 72"/>
                <a:gd name="T47" fmla="*/ 0 h 44"/>
                <a:gd name="T48" fmla="*/ 40 w 72"/>
                <a:gd name="T49" fmla="*/ 0 h 44"/>
                <a:gd name="T50" fmla="*/ 40 w 72"/>
                <a:gd name="T51" fmla="*/ 0 h 4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2"/>
                <a:gd name="T79" fmla="*/ 0 h 44"/>
                <a:gd name="T80" fmla="*/ 72 w 72"/>
                <a:gd name="T81" fmla="*/ 44 h 4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2" h="44">
                  <a:moveTo>
                    <a:pt x="40" y="0"/>
                  </a:moveTo>
                  <a:lnTo>
                    <a:pt x="40" y="0"/>
                  </a:lnTo>
                  <a:lnTo>
                    <a:pt x="54" y="4"/>
                  </a:lnTo>
                  <a:lnTo>
                    <a:pt x="64" y="10"/>
                  </a:lnTo>
                  <a:lnTo>
                    <a:pt x="72" y="18"/>
                  </a:lnTo>
                  <a:lnTo>
                    <a:pt x="72" y="22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6"/>
                  </a:lnTo>
                  <a:lnTo>
                    <a:pt x="60" y="40"/>
                  </a:lnTo>
                  <a:lnTo>
                    <a:pt x="48" y="44"/>
                  </a:lnTo>
                  <a:lnTo>
                    <a:pt x="34" y="44"/>
                  </a:lnTo>
                  <a:lnTo>
                    <a:pt x="20" y="40"/>
                  </a:lnTo>
                  <a:lnTo>
                    <a:pt x="8" y="34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4" y="8"/>
                  </a:lnTo>
                  <a:lnTo>
                    <a:pt x="14" y="4"/>
                  </a:lnTo>
                  <a:lnTo>
                    <a:pt x="26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F7DF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269"/>
            <p:cNvSpPr>
              <a:spLocks/>
            </p:cNvSpPr>
            <p:nvPr/>
          </p:nvSpPr>
          <p:spPr bwMode="auto">
            <a:xfrm>
              <a:off x="4366" y="2809"/>
              <a:ext cx="68" cy="40"/>
            </a:xfrm>
            <a:custGeom>
              <a:avLst/>
              <a:gdLst>
                <a:gd name="T0" fmla="*/ 38 w 68"/>
                <a:gd name="T1" fmla="*/ 0 h 40"/>
                <a:gd name="T2" fmla="*/ 38 w 68"/>
                <a:gd name="T3" fmla="*/ 0 h 40"/>
                <a:gd name="T4" fmla="*/ 50 w 68"/>
                <a:gd name="T5" fmla="*/ 2 h 40"/>
                <a:gd name="T6" fmla="*/ 62 w 68"/>
                <a:gd name="T7" fmla="*/ 8 h 40"/>
                <a:gd name="T8" fmla="*/ 68 w 68"/>
                <a:gd name="T9" fmla="*/ 16 h 40"/>
                <a:gd name="T10" fmla="*/ 68 w 68"/>
                <a:gd name="T11" fmla="*/ 20 h 40"/>
                <a:gd name="T12" fmla="*/ 68 w 68"/>
                <a:gd name="T13" fmla="*/ 24 h 40"/>
                <a:gd name="T14" fmla="*/ 68 w 68"/>
                <a:gd name="T15" fmla="*/ 24 h 40"/>
                <a:gd name="T16" fmla="*/ 68 w 68"/>
                <a:gd name="T17" fmla="*/ 28 h 40"/>
                <a:gd name="T18" fmla="*/ 66 w 68"/>
                <a:gd name="T19" fmla="*/ 32 h 40"/>
                <a:gd name="T20" fmla="*/ 56 w 68"/>
                <a:gd name="T21" fmla="*/ 38 h 40"/>
                <a:gd name="T22" fmla="*/ 46 w 68"/>
                <a:gd name="T23" fmla="*/ 40 h 40"/>
                <a:gd name="T24" fmla="*/ 32 w 68"/>
                <a:gd name="T25" fmla="*/ 40 h 40"/>
                <a:gd name="T26" fmla="*/ 32 w 68"/>
                <a:gd name="T27" fmla="*/ 40 h 40"/>
                <a:gd name="T28" fmla="*/ 18 w 68"/>
                <a:gd name="T29" fmla="*/ 36 h 40"/>
                <a:gd name="T30" fmla="*/ 8 w 68"/>
                <a:gd name="T31" fmla="*/ 30 h 40"/>
                <a:gd name="T32" fmla="*/ 2 w 68"/>
                <a:gd name="T33" fmla="*/ 22 h 40"/>
                <a:gd name="T34" fmla="*/ 0 w 68"/>
                <a:gd name="T35" fmla="*/ 18 h 40"/>
                <a:gd name="T36" fmla="*/ 0 w 68"/>
                <a:gd name="T37" fmla="*/ 14 h 40"/>
                <a:gd name="T38" fmla="*/ 0 w 68"/>
                <a:gd name="T39" fmla="*/ 14 h 40"/>
                <a:gd name="T40" fmla="*/ 2 w 68"/>
                <a:gd name="T41" fmla="*/ 10 h 40"/>
                <a:gd name="T42" fmla="*/ 4 w 68"/>
                <a:gd name="T43" fmla="*/ 6 h 40"/>
                <a:gd name="T44" fmla="*/ 12 w 68"/>
                <a:gd name="T45" fmla="*/ 2 h 40"/>
                <a:gd name="T46" fmla="*/ 24 w 68"/>
                <a:gd name="T47" fmla="*/ 0 h 40"/>
                <a:gd name="T48" fmla="*/ 38 w 68"/>
                <a:gd name="T49" fmla="*/ 0 h 40"/>
                <a:gd name="T50" fmla="*/ 38 w 68"/>
                <a:gd name="T51" fmla="*/ 0 h 4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8"/>
                <a:gd name="T79" fmla="*/ 0 h 40"/>
                <a:gd name="T80" fmla="*/ 68 w 68"/>
                <a:gd name="T81" fmla="*/ 40 h 4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8" h="40">
                  <a:moveTo>
                    <a:pt x="38" y="0"/>
                  </a:moveTo>
                  <a:lnTo>
                    <a:pt x="38" y="0"/>
                  </a:lnTo>
                  <a:lnTo>
                    <a:pt x="50" y="2"/>
                  </a:lnTo>
                  <a:lnTo>
                    <a:pt x="62" y="8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6" y="32"/>
                  </a:lnTo>
                  <a:lnTo>
                    <a:pt x="56" y="38"/>
                  </a:lnTo>
                  <a:lnTo>
                    <a:pt x="46" y="40"/>
                  </a:lnTo>
                  <a:lnTo>
                    <a:pt x="32" y="40"/>
                  </a:lnTo>
                  <a:lnTo>
                    <a:pt x="18" y="36"/>
                  </a:lnTo>
                  <a:lnTo>
                    <a:pt x="8" y="30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6"/>
                  </a:lnTo>
                  <a:lnTo>
                    <a:pt x="12" y="2"/>
                  </a:lnTo>
                  <a:lnTo>
                    <a:pt x="24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7DF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70"/>
            <p:cNvSpPr>
              <a:spLocks/>
            </p:cNvSpPr>
            <p:nvPr/>
          </p:nvSpPr>
          <p:spPr bwMode="auto">
            <a:xfrm>
              <a:off x="4368" y="2809"/>
              <a:ext cx="64" cy="38"/>
            </a:xfrm>
            <a:custGeom>
              <a:avLst/>
              <a:gdLst>
                <a:gd name="T0" fmla="*/ 36 w 64"/>
                <a:gd name="T1" fmla="*/ 0 h 38"/>
                <a:gd name="T2" fmla="*/ 36 w 64"/>
                <a:gd name="T3" fmla="*/ 0 h 38"/>
                <a:gd name="T4" fmla="*/ 48 w 64"/>
                <a:gd name="T5" fmla="*/ 4 h 38"/>
                <a:gd name="T6" fmla="*/ 58 w 64"/>
                <a:gd name="T7" fmla="*/ 8 h 38"/>
                <a:gd name="T8" fmla="*/ 64 w 64"/>
                <a:gd name="T9" fmla="*/ 16 h 38"/>
                <a:gd name="T10" fmla="*/ 64 w 64"/>
                <a:gd name="T11" fmla="*/ 20 h 38"/>
                <a:gd name="T12" fmla="*/ 64 w 64"/>
                <a:gd name="T13" fmla="*/ 24 h 38"/>
                <a:gd name="T14" fmla="*/ 64 w 64"/>
                <a:gd name="T15" fmla="*/ 24 h 38"/>
                <a:gd name="T16" fmla="*/ 64 w 64"/>
                <a:gd name="T17" fmla="*/ 28 h 38"/>
                <a:gd name="T18" fmla="*/ 62 w 64"/>
                <a:gd name="T19" fmla="*/ 30 h 38"/>
                <a:gd name="T20" fmla="*/ 54 w 64"/>
                <a:gd name="T21" fmla="*/ 36 h 38"/>
                <a:gd name="T22" fmla="*/ 42 w 64"/>
                <a:gd name="T23" fmla="*/ 38 h 38"/>
                <a:gd name="T24" fmla="*/ 30 w 64"/>
                <a:gd name="T25" fmla="*/ 38 h 38"/>
                <a:gd name="T26" fmla="*/ 30 w 64"/>
                <a:gd name="T27" fmla="*/ 38 h 38"/>
                <a:gd name="T28" fmla="*/ 18 w 64"/>
                <a:gd name="T29" fmla="*/ 34 h 38"/>
                <a:gd name="T30" fmla="*/ 8 w 64"/>
                <a:gd name="T31" fmla="*/ 28 h 38"/>
                <a:gd name="T32" fmla="*/ 2 w 64"/>
                <a:gd name="T33" fmla="*/ 22 h 38"/>
                <a:gd name="T34" fmla="*/ 0 w 64"/>
                <a:gd name="T35" fmla="*/ 18 h 38"/>
                <a:gd name="T36" fmla="*/ 0 w 64"/>
                <a:gd name="T37" fmla="*/ 14 h 38"/>
                <a:gd name="T38" fmla="*/ 0 w 64"/>
                <a:gd name="T39" fmla="*/ 14 h 38"/>
                <a:gd name="T40" fmla="*/ 2 w 64"/>
                <a:gd name="T41" fmla="*/ 10 h 38"/>
                <a:gd name="T42" fmla="*/ 4 w 64"/>
                <a:gd name="T43" fmla="*/ 8 h 38"/>
                <a:gd name="T44" fmla="*/ 12 w 64"/>
                <a:gd name="T45" fmla="*/ 2 h 38"/>
                <a:gd name="T46" fmla="*/ 22 w 64"/>
                <a:gd name="T47" fmla="*/ 0 h 38"/>
                <a:gd name="T48" fmla="*/ 36 w 64"/>
                <a:gd name="T49" fmla="*/ 0 h 38"/>
                <a:gd name="T50" fmla="*/ 36 w 64"/>
                <a:gd name="T51" fmla="*/ 0 h 3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4"/>
                <a:gd name="T79" fmla="*/ 0 h 38"/>
                <a:gd name="T80" fmla="*/ 64 w 64"/>
                <a:gd name="T81" fmla="*/ 38 h 3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4" h="38">
                  <a:moveTo>
                    <a:pt x="36" y="0"/>
                  </a:moveTo>
                  <a:lnTo>
                    <a:pt x="36" y="0"/>
                  </a:lnTo>
                  <a:lnTo>
                    <a:pt x="48" y="4"/>
                  </a:lnTo>
                  <a:lnTo>
                    <a:pt x="58" y="8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2" y="30"/>
                  </a:lnTo>
                  <a:lnTo>
                    <a:pt x="54" y="36"/>
                  </a:lnTo>
                  <a:lnTo>
                    <a:pt x="42" y="38"/>
                  </a:lnTo>
                  <a:lnTo>
                    <a:pt x="30" y="38"/>
                  </a:lnTo>
                  <a:lnTo>
                    <a:pt x="18" y="34"/>
                  </a:lnTo>
                  <a:lnTo>
                    <a:pt x="8" y="28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7DC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71"/>
            <p:cNvSpPr>
              <a:spLocks/>
            </p:cNvSpPr>
            <p:nvPr/>
          </p:nvSpPr>
          <p:spPr bwMode="auto">
            <a:xfrm>
              <a:off x="4370" y="2809"/>
              <a:ext cx="62" cy="36"/>
            </a:xfrm>
            <a:custGeom>
              <a:avLst/>
              <a:gdLst>
                <a:gd name="T0" fmla="*/ 34 w 62"/>
                <a:gd name="T1" fmla="*/ 0 h 36"/>
                <a:gd name="T2" fmla="*/ 34 w 62"/>
                <a:gd name="T3" fmla="*/ 0 h 36"/>
                <a:gd name="T4" fmla="*/ 44 w 62"/>
                <a:gd name="T5" fmla="*/ 4 h 36"/>
                <a:gd name="T6" fmla="*/ 54 w 62"/>
                <a:gd name="T7" fmla="*/ 8 h 36"/>
                <a:gd name="T8" fmla="*/ 60 w 62"/>
                <a:gd name="T9" fmla="*/ 16 h 36"/>
                <a:gd name="T10" fmla="*/ 60 w 62"/>
                <a:gd name="T11" fmla="*/ 20 h 36"/>
                <a:gd name="T12" fmla="*/ 62 w 62"/>
                <a:gd name="T13" fmla="*/ 22 h 36"/>
                <a:gd name="T14" fmla="*/ 62 w 62"/>
                <a:gd name="T15" fmla="*/ 22 h 36"/>
                <a:gd name="T16" fmla="*/ 60 w 62"/>
                <a:gd name="T17" fmla="*/ 26 h 36"/>
                <a:gd name="T18" fmla="*/ 58 w 62"/>
                <a:gd name="T19" fmla="*/ 30 h 36"/>
                <a:gd name="T20" fmla="*/ 50 w 62"/>
                <a:gd name="T21" fmla="*/ 34 h 36"/>
                <a:gd name="T22" fmla="*/ 40 w 62"/>
                <a:gd name="T23" fmla="*/ 36 h 36"/>
                <a:gd name="T24" fmla="*/ 28 w 62"/>
                <a:gd name="T25" fmla="*/ 36 h 36"/>
                <a:gd name="T26" fmla="*/ 28 w 62"/>
                <a:gd name="T27" fmla="*/ 36 h 36"/>
                <a:gd name="T28" fmla="*/ 16 w 62"/>
                <a:gd name="T29" fmla="*/ 32 h 36"/>
                <a:gd name="T30" fmla="*/ 8 w 62"/>
                <a:gd name="T31" fmla="*/ 28 h 36"/>
                <a:gd name="T32" fmla="*/ 2 w 62"/>
                <a:gd name="T33" fmla="*/ 20 h 36"/>
                <a:gd name="T34" fmla="*/ 0 w 62"/>
                <a:gd name="T35" fmla="*/ 18 h 36"/>
                <a:gd name="T36" fmla="*/ 0 w 62"/>
                <a:gd name="T37" fmla="*/ 14 h 36"/>
                <a:gd name="T38" fmla="*/ 0 w 62"/>
                <a:gd name="T39" fmla="*/ 14 h 36"/>
                <a:gd name="T40" fmla="*/ 2 w 62"/>
                <a:gd name="T41" fmla="*/ 10 h 36"/>
                <a:gd name="T42" fmla="*/ 4 w 62"/>
                <a:gd name="T43" fmla="*/ 8 h 36"/>
                <a:gd name="T44" fmla="*/ 12 w 62"/>
                <a:gd name="T45" fmla="*/ 2 h 36"/>
                <a:gd name="T46" fmla="*/ 22 w 62"/>
                <a:gd name="T47" fmla="*/ 0 h 36"/>
                <a:gd name="T48" fmla="*/ 34 w 62"/>
                <a:gd name="T49" fmla="*/ 0 h 36"/>
                <a:gd name="T50" fmla="*/ 34 w 62"/>
                <a:gd name="T51" fmla="*/ 0 h 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2"/>
                <a:gd name="T79" fmla="*/ 0 h 36"/>
                <a:gd name="T80" fmla="*/ 62 w 62"/>
                <a:gd name="T81" fmla="*/ 36 h 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2" h="36">
                  <a:moveTo>
                    <a:pt x="34" y="0"/>
                  </a:moveTo>
                  <a:lnTo>
                    <a:pt x="34" y="0"/>
                  </a:lnTo>
                  <a:lnTo>
                    <a:pt x="44" y="4"/>
                  </a:lnTo>
                  <a:lnTo>
                    <a:pt x="54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2" y="22"/>
                  </a:lnTo>
                  <a:lnTo>
                    <a:pt x="60" y="26"/>
                  </a:lnTo>
                  <a:lnTo>
                    <a:pt x="58" y="30"/>
                  </a:lnTo>
                  <a:lnTo>
                    <a:pt x="50" y="34"/>
                  </a:lnTo>
                  <a:lnTo>
                    <a:pt x="40" y="36"/>
                  </a:lnTo>
                  <a:lnTo>
                    <a:pt x="28" y="36"/>
                  </a:lnTo>
                  <a:lnTo>
                    <a:pt x="16" y="32"/>
                  </a:lnTo>
                  <a:lnTo>
                    <a:pt x="8" y="28"/>
                  </a:lnTo>
                  <a:lnTo>
                    <a:pt x="2" y="20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7DC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72"/>
            <p:cNvSpPr>
              <a:spLocks/>
            </p:cNvSpPr>
            <p:nvPr/>
          </p:nvSpPr>
          <p:spPr bwMode="auto">
            <a:xfrm>
              <a:off x="4372" y="2809"/>
              <a:ext cx="58" cy="34"/>
            </a:xfrm>
            <a:custGeom>
              <a:avLst/>
              <a:gdLst>
                <a:gd name="T0" fmla="*/ 32 w 58"/>
                <a:gd name="T1" fmla="*/ 2 h 34"/>
                <a:gd name="T2" fmla="*/ 32 w 58"/>
                <a:gd name="T3" fmla="*/ 2 h 34"/>
                <a:gd name="T4" fmla="*/ 42 w 58"/>
                <a:gd name="T5" fmla="*/ 4 h 34"/>
                <a:gd name="T6" fmla="*/ 50 w 58"/>
                <a:gd name="T7" fmla="*/ 8 h 34"/>
                <a:gd name="T8" fmla="*/ 56 w 58"/>
                <a:gd name="T9" fmla="*/ 16 h 34"/>
                <a:gd name="T10" fmla="*/ 58 w 58"/>
                <a:gd name="T11" fmla="*/ 22 h 34"/>
                <a:gd name="T12" fmla="*/ 58 w 58"/>
                <a:gd name="T13" fmla="*/ 22 h 34"/>
                <a:gd name="T14" fmla="*/ 54 w 58"/>
                <a:gd name="T15" fmla="*/ 28 h 34"/>
                <a:gd name="T16" fmla="*/ 48 w 58"/>
                <a:gd name="T17" fmla="*/ 32 h 34"/>
                <a:gd name="T18" fmla="*/ 38 w 58"/>
                <a:gd name="T19" fmla="*/ 34 h 34"/>
                <a:gd name="T20" fmla="*/ 26 w 58"/>
                <a:gd name="T21" fmla="*/ 34 h 34"/>
                <a:gd name="T22" fmla="*/ 26 w 58"/>
                <a:gd name="T23" fmla="*/ 34 h 34"/>
                <a:gd name="T24" fmla="*/ 16 w 58"/>
                <a:gd name="T25" fmla="*/ 32 h 34"/>
                <a:gd name="T26" fmla="*/ 8 w 58"/>
                <a:gd name="T27" fmla="*/ 26 h 34"/>
                <a:gd name="T28" fmla="*/ 2 w 58"/>
                <a:gd name="T29" fmla="*/ 20 h 34"/>
                <a:gd name="T30" fmla="*/ 0 w 58"/>
                <a:gd name="T31" fmla="*/ 14 h 34"/>
                <a:gd name="T32" fmla="*/ 0 w 58"/>
                <a:gd name="T33" fmla="*/ 14 h 34"/>
                <a:gd name="T34" fmla="*/ 4 w 58"/>
                <a:gd name="T35" fmla="*/ 8 h 34"/>
                <a:gd name="T36" fmla="*/ 10 w 58"/>
                <a:gd name="T37" fmla="*/ 4 h 34"/>
                <a:gd name="T38" fmla="*/ 20 w 58"/>
                <a:gd name="T39" fmla="*/ 0 h 34"/>
                <a:gd name="T40" fmla="*/ 32 w 58"/>
                <a:gd name="T41" fmla="*/ 2 h 34"/>
                <a:gd name="T42" fmla="*/ 32 w 58"/>
                <a:gd name="T43" fmla="*/ 2 h 3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8"/>
                <a:gd name="T67" fmla="*/ 0 h 34"/>
                <a:gd name="T68" fmla="*/ 58 w 58"/>
                <a:gd name="T69" fmla="*/ 34 h 3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8" h="34">
                  <a:moveTo>
                    <a:pt x="32" y="2"/>
                  </a:moveTo>
                  <a:lnTo>
                    <a:pt x="32" y="2"/>
                  </a:lnTo>
                  <a:lnTo>
                    <a:pt x="42" y="4"/>
                  </a:lnTo>
                  <a:lnTo>
                    <a:pt x="50" y="8"/>
                  </a:lnTo>
                  <a:lnTo>
                    <a:pt x="56" y="16"/>
                  </a:lnTo>
                  <a:lnTo>
                    <a:pt x="58" y="22"/>
                  </a:lnTo>
                  <a:lnTo>
                    <a:pt x="54" y="28"/>
                  </a:lnTo>
                  <a:lnTo>
                    <a:pt x="48" y="32"/>
                  </a:lnTo>
                  <a:lnTo>
                    <a:pt x="38" y="34"/>
                  </a:lnTo>
                  <a:lnTo>
                    <a:pt x="26" y="34"/>
                  </a:lnTo>
                  <a:lnTo>
                    <a:pt x="16" y="32"/>
                  </a:lnTo>
                  <a:lnTo>
                    <a:pt x="8" y="26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4" y="8"/>
                  </a:lnTo>
                  <a:lnTo>
                    <a:pt x="10" y="4"/>
                  </a:lnTo>
                  <a:lnTo>
                    <a:pt x="20" y="0"/>
                  </a:lnTo>
                  <a:lnTo>
                    <a:pt x="32" y="2"/>
                  </a:lnTo>
                  <a:close/>
                </a:path>
              </a:pathLst>
            </a:custGeom>
            <a:solidFill>
              <a:srgbClr val="F7D9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273"/>
            <p:cNvSpPr>
              <a:spLocks/>
            </p:cNvSpPr>
            <p:nvPr/>
          </p:nvSpPr>
          <p:spPr bwMode="auto">
            <a:xfrm>
              <a:off x="4626" y="2863"/>
              <a:ext cx="130" cy="100"/>
            </a:xfrm>
            <a:custGeom>
              <a:avLst/>
              <a:gdLst>
                <a:gd name="T0" fmla="*/ 86 w 130"/>
                <a:gd name="T1" fmla="*/ 14 h 100"/>
                <a:gd name="T2" fmla="*/ 86 w 130"/>
                <a:gd name="T3" fmla="*/ 14 h 100"/>
                <a:gd name="T4" fmla="*/ 98 w 130"/>
                <a:gd name="T5" fmla="*/ 22 h 100"/>
                <a:gd name="T6" fmla="*/ 108 w 130"/>
                <a:gd name="T7" fmla="*/ 30 h 100"/>
                <a:gd name="T8" fmla="*/ 116 w 130"/>
                <a:gd name="T9" fmla="*/ 40 h 100"/>
                <a:gd name="T10" fmla="*/ 122 w 130"/>
                <a:gd name="T11" fmla="*/ 50 h 100"/>
                <a:gd name="T12" fmla="*/ 128 w 130"/>
                <a:gd name="T13" fmla="*/ 60 h 100"/>
                <a:gd name="T14" fmla="*/ 130 w 130"/>
                <a:gd name="T15" fmla="*/ 68 h 100"/>
                <a:gd name="T16" fmla="*/ 130 w 130"/>
                <a:gd name="T17" fmla="*/ 78 h 100"/>
                <a:gd name="T18" fmla="*/ 126 w 130"/>
                <a:gd name="T19" fmla="*/ 86 h 100"/>
                <a:gd name="T20" fmla="*/ 126 w 130"/>
                <a:gd name="T21" fmla="*/ 86 h 100"/>
                <a:gd name="T22" fmla="*/ 120 w 130"/>
                <a:gd name="T23" fmla="*/ 92 h 100"/>
                <a:gd name="T24" fmla="*/ 114 w 130"/>
                <a:gd name="T25" fmla="*/ 96 h 100"/>
                <a:gd name="T26" fmla="*/ 104 w 130"/>
                <a:gd name="T27" fmla="*/ 100 h 100"/>
                <a:gd name="T28" fmla="*/ 94 w 130"/>
                <a:gd name="T29" fmla="*/ 100 h 100"/>
                <a:gd name="T30" fmla="*/ 82 w 130"/>
                <a:gd name="T31" fmla="*/ 100 h 100"/>
                <a:gd name="T32" fmla="*/ 70 w 130"/>
                <a:gd name="T33" fmla="*/ 96 h 100"/>
                <a:gd name="T34" fmla="*/ 56 w 130"/>
                <a:gd name="T35" fmla="*/ 92 h 100"/>
                <a:gd name="T36" fmla="*/ 44 w 130"/>
                <a:gd name="T37" fmla="*/ 86 h 100"/>
                <a:gd name="T38" fmla="*/ 44 w 130"/>
                <a:gd name="T39" fmla="*/ 86 h 100"/>
                <a:gd name="T40" fmla="*/ 32 w 130"/>
                <a:gd name="T41" fmla="*/ 78 h 100"/>
                <a:gd name="T42" fmla="*/ 22 w 130"/>
                <a:gd name="T43" fmla="*/ 70 h 100"/>
                <a:gd name="T44" fmla="*/ 12 w 130"/>
                <a:gd name="T45" fmla="*/ 60 h 100"/>
                <a:gd name="T46" fmla="*/ 6 w 130"/>
                <a:gd name="T47" fmla="*/ 50 h 100"/>
                <a:gd name="T48" fmla="*/ 2 w 130"/>
                <a:gd name="T49" fmla="*/ 40 h 100"/>
                <a:gd name="T50" fmla="*/ 0 w 130"/>
                <a:gd name="T51" fmla="*/ 32 h 100"/>
                <a:gd name="T52" fmla="*/ 0 w 130"/>
                <a:gd name="T53" fmla="*/ 22 h 100"/>
                <a:gd name="T54" fmla="*/ 2 w 130"/>
                <a:gd name="T55" fmla="*/ 14 h 100"/>
                <a:gd name="T56" fmla="*/ 2 w 130"/>
                <a:gd name="T57" fmla="*/ 14 h 100"/>
                <a:gd name="T58" fmla="*/ 8 w 130"/>
                <a:gd name="T59" fmla="*/ 8 h 100"/>
                <a:gd name="T60" fmla="*/ 16 w 130"/>
                <a:gd name="T61" fmla="*/ 4 h 100"/>
                <a:gd name="T62" fmla="*/ 24 w 130"/>
                <a:gd name="T63" fmla="*/ 0 h 100"/>
                <a:gd name="T64" fmla="*/ 36 w 130"/>
                <a:gd name="T65" fmla="*/ 0 h 100"/>
                <a:gd name="T66" fmla="*/ 46 w 130"/>
                <a:gd name="T67" fmla="*/ 0 h 100"/>
                <a:gd name="T68" fmla="*/ 60 w 130"/>
                <a:gd name="T69" fmla="*/ 2 h 100"/>
                <a:gd name="T70" fmla="*/ 72 w 130"/>
                <a:gd name="T71" fmla="*/ 8 h 100"/>
                <a:gd name="T72" fmla="*/ 86 w 130"/>
                <a:gd name="T73" fmla="*/ 14 h 100"/>
                <a:gd name="T74" fmla="*/ 86 w 130"/>
                <a:gd name="T75" fmla="*/ 14 h 1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0"/>
                <a:gd name="T115" fmla="*/ 0 h 100"/>
                <a:gd name="T116" fmla="*/ 130 w 130"/>
                <a:gd name="T117" fmla="*/ 100 h 1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0" h="100">
                  <a:moveTo>
                    <a:pt x="86" y="14"/>
                  </a:moveTo>
                  <a:lnTo>
                    <a:pt x="86" y="14"/>
                  </a:lnTo>
                  <a:lnTo>
                    <a:pt x="98" y="22"/>
                  </a:lnTo>
                  <a:lnTo>
                    <a:pt x="108" y="30"/>
                  </a:lnTo>
                  <a:lnTo>
                    <a:pt x="116" y="40"/>
                  </a:lnTo>
                  <a:lnTo>
                    <a:pt x="122" y="50"/>
                  </a:lnTo>
                  <a:lnTo>
                    <a:pt x="128" y="60"/>
                  </a:lnTo>
                  <a:lnTo>
                    <a:pt x="130" y="68"/>
                  </a:lnTo>
                  <a:lnTo>
                    <a:pt x="130" y="78"/>
                  </a:lnTo>
                  <a:lnTo>
                    <a:pt x="126" y="86"/>
                  </a:lnTo>
                  <a:lnTo>
                    <a:pt x="120" y="92"/>
                  </a:lnTo>
                  <a:lnTo>
                    <a:pt x="114" y="96"/>
                  </a:lnTo>
                  <a:lnTo>
                    <a:pt x="104" y="100"/>
                  </a:lnTo>
                  <a:lnTo>
                    <a:pt x="94" y="100"/>
                  </a:lnTo>
                  <a:lnTo>
                    <a:pt x="82" y="100"/>
                  </a:lnTo>
                  <a:lnTo>
                    <a:pt x="70" y="96"/>
                  </a:lnTo>
                  <a:lnTo>
                    <a:pt x="56" y="92"/>
                  </a:lnTo>
                  <a:lnTo>
                    <a:pt x="44" y="86"/>
                  </a:lnTo>
                  <a:lnTo>
                    <a:pt x="32" y="78"/>
                  </a:lnTo>
                  <a:lnTo>
                    <a:pt x="22" y="70"/>
                  </a:lnTo>
                  <a:lnTo>
                    <a:pt x="12" y="60"/>
                  </a:lnTo>
                  <a:lnTo>
                    <a:pt x="6" y="50"/>
                  </a:lnTo>
                  <a:lnTo>
                    <a:pt x="2" y="40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8" y="8"/>
                  </a:lnTo>
                  <a:lnTo>
                    <a:pt x="16" y="4"/>
                  </a:lnTo>
                  <a:lnTo>
                    <a:pt x="24" y="0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60" y="2"/>
                  </a:lnTo>
                  <a:lnTo>
                    <a:pt x="72" y="8"/>
                  </a:lnTo>
                  <a:lnTo>
                    <a:pt x="86" y="14"/>
                  </a:lnTo>
                  <a:close/>
                </a:path>
              </a:pathLst>
            </a:custGeom>
            <a:solidFill>
              <a:srgbClr val="F7F71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274"/>
            <p:cNvSpPr>
              <a:spLocks/>
            </p:cNvSpPr>
            <p:nvPr/>
          </p:nvSpPr>
          <p:spPr bwMode="auto">
            <a:xfrm>
              <a:off x="4628" y="2863"/>
              <a:ext cx="126" cy="100"/>
            </a:xfrm>
            <a:custGeom>
              <a:avLst/>
              <a:gdLst>
                <a:gd name="T0" fmla="*/ 82 w 126"/>
                <a:gd name="T1" fmla="*/ 14 h 100"/>
                <a:gd name="T2" fmla="*/ 82 w 126"/>
                <a:gd name="T3" fmla="*/ 14 h 100"/>
                <a:gd name="T4" fmla="*/ 94 w 126"/>
                <a:gd name="T5" fmla="*/ 22 h 100"/>
                <a:gd name="T6" fmla="*/ 104 w 126"/>
                <a:gd name="T7" fmla="*/ 30 h 100"/>
                <a:gd name="T8" fmla="*/ 112 w 126"/>
                <a:gd name="T9" fmla="*/ 40 h 100"/>
                <a:gd name="T10" fmla="*/ 120 w 126"/>
                <a:gd name="T11" fmla="*/ 50 h 100"/>
                <a:gd name="T12" fmla="*/ 124 w 126"/>
                <a:gd name="T13" fmla="*/ 58 h 100"/>
                <a:gd name="T14" fmla="*/ 126 w 126"/>
                <a:gd name="T15" fmla="*/ 68 h 100"/>
                <a:gd name="T16" fmla="*/ 126 w 126"/>
                <a:gd name="T17" fmla="*/ 76 h 100"/>
                <a:gd name="T18" fmla="*/ 122 w 126"/>
                <a:gd name="T19" fmla="*/ 84 h 100"/>
                <a:gd name="T20" fmla="*/ 122 w 126"/>
                <a:gd name="T21" fmla="*/ 84 h 100"/>
                <a:gd name="T22" fmla="*/ 118 w 126"/>
                <a:gd name="T23" fmla="*/ 90 h 100"/>
                <a:gd name="T24" fmla="*/ 110 w 126"/>
                <a:gd name="T25" fmla="*/ 96 h 100"/>
                <a:gd name="T26" fmla="*/ 102 w 126"/>
                <a:gd name="T27" fmla="*/ 98 h 100"/>
                <a:gd name="T28" fmla="*/ 90 w 126"/>
                <a:gd name="T29" fmla="*/ 100 h 100"/>
                <a:gd name="T30" fmla="*/ 80 w 126"/>
                <a:gd name="T31" fmla="*/ 98 h 100"/>
                <a:gd name="T32" fmla="*/ 68 w 126"/>
                <a:gd name="T33" fmla="*/ 96 h 100"/>
                <a:gd name="T34" fmla="*/ 54 w 126"/>
                <a:gd name="T35" fmla="*/ 92 h 100"/>
                <a:gd name="T36" fmla="*/ 42 w 126"/>
                <a:gd name="T37" fmla="*/ 86 h 100"/>
                <a:gd name="T38" fmla="*/ 42 w 126"/>
                <a:gd name="T39" fmla="*/ 86 h 100"/>
                <a:gd name="T40" fmla="*/ 30 w 126"/>
                <a:gd name="T41" fmla="*/ 78 h 100"/>
                <a:gd name="T42" fmla="*/ 20 w 126"/>
                <a:gd name="T43" fmla="*/ 68 h 100"/>
                <a:gd name="T44" fmla="*/ 12 w 126"/>
                <a:gd name="T45" fmla="*/ 60 h 100"/>
                <a:gd name="T46" fmla="*/ 6 w 126"/>
                <a:gd name="T47" fmla="*/ 50 h 100"/>
                <a:gd name="T48" fmla="*/ 2 w 126"/>
                <a:gd name="T49" fmla="*/ 40 h 100"/>
                <a:gd name="T50" fmla="*/ 0 w 126"/>
                <a:gd name="T51" fmla="*/ 32 h 100"/>
                <a:gd name="T52" fmla="*/ 0 w 126"/>
                <a:gd name="T53" fmla="*/ 24 h 100"/>
                <a:gd name="T54" fmla="*/ 2 w 126"/>
                <a:gd name="T55" fmla="*/ 16 h 100"/>
                <a:gd name="T56" fmla="*/ 2 w 126"/>
                <a:gd name="T57" fmla="*/ 16 h 100"/>
                <a:gd name="T58" fmla="*/ 8 w 126"/>
                <a:gd name="T59" fmla="*/ 10 h 100"/>
                <a:gd name="T60" fmla="*/ 16 w 126"/>
                <a:gd name="T61" fmla="*/ 4 h 100"/>
                <a:gd name="T62" fmla="*/ 24 w 126"/>
                <a:gd name="T63" fmla="*/ 2 h 100"/>
                <a:gd name="T64" fmla="*/ 34 w 126"/>
                <a:gd name="T65" fmla="*/ 0 h 100"/>
                <a:gd name="T66" fmla="*/ 46 w 126"/>
                <a:gd name="T67" fmla="*/ 2 h 100"/>
                <a:gd name="T68" fmla="*/ 58 w 126"/>
                <a:gd name="T69" fmla="*/ 4 h 100"/>
                <a:gd name="T70" fmla="*/ 70 w 126"/>
                <a:gd name="T71" fmla="*/ 8 h 100"/>
                <a:gd name="T72" fmla="*/ 82 w 126"/>
                <a:gd name="T73" fmla="*/ 14 h 100"/>
                <a:gd name="T74" fmla="*/ 82 w 126"/>
                <a:gd name="T75" fmla="*/ 14 h 1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6"/>
                <a:gd name="T115" fmla="*/ 0 h 100"/>
                <a:gd name="T116" fmla="*/ 126 w 126"/>
                <a:gd name="T117" fmla="*/ 100 h 1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6" h="100">
                  <a:moveTo>
                    <a:pt x="82" y="14"/>
                  </a:moveTo>
                  <a:lnTo>
                    <a:pt x="82" y="14"/>
                  </a:lnTo>
                  <a:lnTo>
                    <a:pt x="94" y="22"/>
                  </a:lnTo>
                  <a:lnTo>
                    <a:pt x="104" y="30"/>
                  </a:lnTo>
                  <a:lnTo>
                    <a:pt x="112" y="40"/>
                  </a:lnTo>
                  <a:lnTo>
                    <a:pt x="120" y="50"/>
                  </a:lnTo>
                  <a:lnTo>
                    <a:pt x="124" y="58"/>
                  </a:lnTo>
                  <a:lnTo>
                    <a:pt x="126" y="68"/>
                  </a:lnTo>
                  <a:lnTo>
                    <a:pt x="126" y="76"/>
                  </a:lnTo>
                  <a:lnTo>
                    <a:pt x="122" y="84"/>
                  </a:lnTo>
                  <a:lnTo>
                    <a:pt x="118" y="90"/>
                  </a:lnTo>
                  <a:lnTo>
                    <a:pt x="110" y="96"/>
                  </a:lnTo>
                  <a:lnTo>
                    <a:pt x="102" y="98"/>
                  </a:lnTo>
                  <a:lnTo>
                    <a:pt x="90" y="100"/>
                  </a:lnTo>
                  <a:lnTo>
                    <a:pt x="80" y="98"/>
                  </a:lnTo>
                  <a:lnTo>
                    <a:pt x="68" y="96"/>
                  </a:lnTo>
                  <a:lnTo>
                    <a:pt x="54" y="92"/>
                  </a:lnTo>
                  <a:lnTo>
                    <a:pt x="42" y="86"/>
                  </a:lnTo>
                  <a:lnTo>
                    <a:pt x="30" y="78"/>
                  </a:lnTo>
                  <a:lnTo>
                    <a:pt x="20" y="68"/>
                  </a:lnTo>
                  <a:lnTo>
                    <a:pt x="12" y="60"/>
                  </a:lnTo>
                  <a:lnTo>
                    <a:pt x="6" y="50"/>
                  </a:lnTo>
                  <a:lnTo>
                    <a:pt x="2" y="40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8" y="10"/>
                  </a:lnTo>
                  <a:lnTo>
                    <a:pt x="16" y="4"/>
                  </a:lnTo>
                  <a:lnTo>
                    <a:pt x="24" y="2"/>
                  </a:lnTo>
                  <a:lnTo>
                    <a:pt x="34" y="0"/>
                  </a:lnTo>
                  <a:lnTo>
                    <a:pt x="46" y="2"/>
                  </a:lnTo>
                  <a:lnTo>
                    <a:pt x="58" y="4"/>
                  </a:lnTo>
                  <a:lnTo>
                    <a:pt x="70" y="8"/>
                  </a:lnTo>
                  <a:lnTo>
                    <a:pt x="82" y="14"/>
                  </a:lnTo>
                  <a:close/>
                </a:path>
              </a:pathLst>
            </a:custGeom>
            <a:solidFill>
              <a:srgbClr val="F7F4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275"/>
            <p:cNvSpPr>
              <a:spLocks/>
            </p:cNvSpPr>
            <p:nvPr/>
          </p:nvSpPr>
          <p:spPr bwMode="auto">
            <a:xfrm>
              <a:off x="4630" y="2865"/>
              <a:ext cx="122" cy="96"/>
            </a:xfrm>
            <a:custGeom>
              <a:avLst/>
              <a:gdLst>
                <a:gd name="T0" fmla="*/ 80 w 122"/>
                <a:gd name="T1" fmla="*/ 14 h 96"/>
                <a:gd name="T2" fmla="*/ 80 w 122"/>
                <a:gd name="T3" fmla="*/ 14 h 96"/>
                <a:gd name="T4" fmla="*/ 92 w 122"/>
                <a:gd name="T5" fmla="*/ 22 h 96"/>
                <a:gd name="T6" fmla="*/ 102 w 122"/>
                <a:gd name="T7" fmla="*/ 30 h 96"/>
                <a:gd name="T8" fmla="*/ 110 w 122"/>
                <a:gd name="T9" fmla="*/ 38 h 96"/>
                <a:gd name="T10" fmla="*/ 116 w 122"/>
                <a:gd name="T11" fmla="*/ 48 h 96"/>
                <a:gd name="T12" fmla="*/ 120 w 122"/>
                <a:gd name="T13" fmla="*/ 56 h 96"/>
                <a:gd name="T14" fmla="*/ 122 w 122"/>
                <a:gd name="T15" fmla="*/ 66 h 96"/>
                <a:gd name="T16" fmla="*/ 122 w 122"/>
                <a:gd name="T17" fmla="*/ 74 h 96"/>
                <a:gd name="T18" fmla="*/ 120 w 122"/>
                <a:gd name="T19" fmla="*/ 82 h 96"/>
                <a:gd name="T20" fmla="*/ 120 w 122"/>
                <a:gd name="T21" fmla="*/ 82 h 96"/>
                <a:gd name="T22" fmla="*/ 114 w 122"/>
                <a:gd name="T23" fmla="*/ 88 h 96"/>
                <a:gd name="T24" fmla="*/ 106 w 122"/>
                <a:gd name="T25" fmla="*/ 92 h 96"/>
                <a:gd name="T26" fmla="*/ 98 w 122"/>
                <a:gd name="T27" fmla="*/ 94 h 96"/>
                <a:gd name="T28" fmla="*/ 88 w 122"/>
                <a:gd name="T29" fmla="*/ 96 h 96"/>
                <a:gd name="T30" fmla="*/ 78 w 122"/>
                <a:gd name="T31" fmla="*/ 94 h 96"/>
                <a:gd name="T32" fmla="*/ 66 w 122"/>
                <a:gd name="T33" fmla="*/ 92 h 96"/>
                <a:gd name="T34" fmla="*/ 54 w 122"/>
                <a:gd name="T35" fmla="*/ 88 h 96"/>
                <a:gd name="T36" fmla="*/ 42 w 122"/>
                <a:gd name="T37" fmla="*/ 82 h 96"/>
                <a:gd name="T38" fmla="*/ 42 w 122"/>
                <a:gd name="T39" fmla="*/ 82 h 96"/>
                <a:gd name="T40" fmla="*/ 30 w 122"/>
                <a:gd name="T41" fmla="*/ 74 h 96"/>
                <a:gd name="T42" fmla="*/ 20 w 122"/>
                <a:gd name="T43" fmla="*/ 66 h 96"/>
                <a:gd name="T44" fmla="*/ 12 w 122"/>
                <a:gd name="T45" fmla="*/ 58 h 96"/>
                <a:gd name="T46" fmla="*/ 6 w 122"/>
                <a:gd name="T47" fmla="*/ 48 h 96"/>
                <a:gd name="T48" fmla="*/ 2 w 122"/>
                <a:gd name="T49" fmla="*/ 40 h 96"/>
                <a:gd name="T50" fmla="*/ 0 w 122"/>
                <a:gd name="T51" fmla="*/ 30 h 96"/>
                <a:gd name="T52" fmla="*/ 0 w 122"/>
                <a:gd name="T53" fmla="*/ 22 h 96"/>
                <a:gd name="T54" fmla="*/ 2 w 122"/>
                <a:gd name="T55" fmla="*/ 14 h 96"/>
                <a:gd name="T56" fmla="*/ 2 w 122"/>
                <a:gd name="T57" fmla="*/ 14 h 96"/>
                <a:gd name="T58" fmla="*/ 8 w 122"/>
                <a:gd name="T59" fmla="*/ 8 h 96"/>
                <a:gd name="T60" fmla="*/ 14 w 122"/>
                <a:gd name="T61" fmla="*/ 4 h 96"/>
                <a:gd name="T62" fmla="*/ 24 w 122"/>
                <a:gd name="T63" fmla="*/ 2 h 96"/>
                <a:gd name="T64" fmla="*/ 34 w 122"/>
                <a:gd name="T65" fmla="*/ 0 h 96"/>
                <a:gd name="T66" fmla="*/ 44 w 122"/>
                <a:gd name="T67" fmla="*/ 2 h 96"/>
                <a:gd name="T68" fmla="*/ 56 w 122"/>
                <a:gd name="T69" fmla="*/ 4 h 96"/>
                <a:gd name="T70" fmla="*/ 68 w 122"/>
                <a:gd name="T71" fmla="*/ 8 h 96"/>
                <a:gd name="T72" fmla="*/ 80 w 122"/>
                <a:gd name="T73" fmla="*/ 14 h 96"/>
                <a:gd name="T74" fmla="*/ 80 w 122"/>
                <a:gd name="T75" fmla="*/ 14 h 9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2"/>
                <a:gd name="T115" fmla="*/ 0 h 96"/>
                <a:gd name="T116" fmla="*/ 122 w 122"/>
                <a:gd name="T117" fmla="*/ 96 h 9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2" h="96">
                  <a:moveTo>
                    <a:pt x="80" y="14"/>
                  </a:moveTo>
                  <a:lnTo>
                    <a:pt x="80" y="14"/>
                  </a:lnTo>
                  <a:lnTo>
                    <a:pt x="92" y="22"/>
                  </a:lnTo>
                  <a:lnTo>
                    <a:pt x="102" y="30"/>
                  </a:lnTo>
                  <a:lnTo>
                    <a:pt x="110" y="38"/>
                  </a:lnTo>
                  <a:lnTo>
                    <a:pt x="116" y="48"/>
                  </a:lnTo>
                  <a:lnTo>
                    <a:pt x="120" y="56"/>
                  </a:lnTo>
                  <a:lnTo>
                    <a:pt x="122" y="66"/>
                  </a:lnTo>
                  <a:lnTo>
                    <a:pt x="122" y="74"/>
                  </a:lnTo>
                  <a:lnTo>
                    <a:pt x="120" y="82"/>
                  </a:lnTo>
                  <a:lnTo>
                    <a:pt x="114" y="88"/>
                  </a:lnTo>
                  <a:lnTo>
                    <a:pt x="106" y="92"/>
                  </a:lnTo>
                  <a:lnTo>
                    <a:pt x="98" y="94"/>
                  </a:lnTo>
                  <a:lnTo>
                    <a:pt x="88" y="96"/>
                  </a:lnTo>
                  <a:lnTo>
                    <a:pt x="78" y="94"/>
                  </a:lnTo>
                  <a:lnTo>
                    <a:pt x="66" y="92"/>
                  </a:lnTo>
                  <a:lnTo>
                    <a:pt x="54" y="88"/>
                  </a:lnTo>
                  <a:lnTo>
                    <a:pt x="42" y="82"/>
                  </a:lnTo>
                  <a:lnTo>
                    <a:pt x="30" y="74"/>
                  </a:lnTo>
                  <a:lnTo>
                    <a:pt x="20" y="66"/>
                  </a:lnTo>
                  <a:lnTo>
                    <a:pt x="12" y="58"/>
                  </a:lnTo>
                  <a:lnTo>
                    <a:pt x="6" y="48"/>
                  </a:lnTo>
                  <a:lnTo>
                    <a:pt x="2" y="40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8" y="8"/>
                  </a:lnTo>
                  <a:lnTo>
                    <a:pt x="14" y="4"/>
                  </a:lnTo>
                  <a:lnTo>
                    <a:pt x="24" y="2"/>
                  </a:lnTo>
                  <a:lnTo>
                    <a:pt x="34" y="0"/>
                  </a:lnTo>
                  <a:lnTo>
                    <a:pt x="44" y="2"/>
                  </a:lnTo>
                  <a:lnTo>
                    <a:pt x="56" y="4"/>
                  </a:lnTo>
                  <a:lnTo>
                    <a:pt x="68" y="8"/>
                  </a:lnTo>
                  <a:lnTo>
                    <a:pt x="80" y="14"/>
                  </a:lnTo>
                  <a:close/>
                </a:path>
              </a:pathLst>
            </a:custGeom>
            <a:solidFill>
              <a:srgbClr val="F7F4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276"/>
            <p:cNvSpPr>
              <a:spLocks/>
            </p:cNvSpPr>
            <p:nvPr/>
          </p:nvSpPr>
          <p:spPr bwMode="auto">
            <a:xfrm>
              <a:off x="4632" y="2867"/>
              <a:ext cx="118" cy="92"/>
            </a:xfrm>
            <a:custGeom>
              <a:avLst/>
              <a:gdLst>
                <a:gd name="T0" fmla="*/ 78 w 118"/>
                <a:gd name="T1" fmla="*/ 14 h 92"/>
                <a:gd name="T2" fmla="*/ 78 w 118"/>
                <a:gd name="T3" fmla="*/ 14 h 92"/>
                <a:gd name="T4" fmla="*/ 88 w 118"/>
                <a:gd name="T5" fmla="*/ 20 h 92"/>
                <a:gd name="T6" fmla="*/ 98 w 118"/>
                <a:gd name="T7" fmla="*/ 28 h 92"/>
                <a:gd name="T8" fmla="*/ 106 w 118"/>
                <a:gd name="T9" fmla="*/ 36 h 92"/>
                <a:gd name="T10" fmla="*/ 112 w 118"/>
                <a:gd name="T11" fmla="*/ 46 h 92"/>
                <a:gd name="T12" fmla="*/ 116 w 118"/>
                <a:gd name="T13" fmla="*/ 54 h 92"/>
                <a:gd name="T14" fmla="*/ 118 w 118"/>
                <a:gd name="T15" fmla="*/ 64 h 92"/>
                <a:gd name="T16" fmla="*/ 118 w 118"/>
                <a:gd name="T17" fmla="*/ 72 h 92"/>
                <a:gd name="T18" fmla="*/ 116 w 118"/>
                <a:gd name="T19" fmla="*/ 78 h 92"/>
                <a:gd name="T20" fmla="*/ 116 w 118"/>
                <a:gd name="T21" fmla="*/ 78 h 92"/>
                <a:gd name="T22" fmla="*/ 110 w 118"/>
                <a:gd name="T23" fmla="*/ 84 h 92"/>
                <a:gd name="T24" fmla="*/ 104 w 118"/>
                <a:gd name="T25" fmla="*/ 88 h 92"/>
                <a:gd name="T26" fmla="*/ 96 w 118"/>
                <a:gd name="T27" fmla="*/ 92 h 92"/>
                <a:gd name="T28" fmla="*/ 86 w 118"/>
                <a:gd name="T29" fmla="*/ 92 h 92"/>
                <a:gd name="T30" fmla="*/ 74 w 118"/>
                <a:gd name="T31" fmla="*/ 92 h 92"/>
                <a:gd name="T32" fmla="*/ 64 w 118"/>
                <a:gd name="T33" fmla="*/ 90 h 92"/>
                <a:gd name="T34" fmla="*/ 52 w 118"/>
                <a:gd name="T35" fmla="*/ 86 h 92"/>
                <a:gd name="T36" fmla="*/ 40 w 118"/>
                <a:gd name="T37" fmla="*/ 80 h 92"/>
                <a:gd name="T38" fmla="*/ 40 w 118"/>
                <a:gd name="T39" fmla="*/ 80 h 92"/>
                <a:gd name="T40" fmla="*/ 30 w 118"/>
                <a:gd name="T41" fmla="*/ 72 h 92"/>
                <a:gd name="T42" fmla="*/ 20 w 118"/>
                <a:gd name="T43" fmla="*/ 64 h 92"/>
                <a:gd name="T44" fmla="*/ 12 w 118"/>
                <a:gd name="T45" fmla="*/ 56 h 92"/>
                <a:gd name="T46" fmla="*/ 6 w 118"/>
                <a:gd name="T47" fmla="*/ 46 h 92"/>
                <a:gd name="T48" fmla="*/ 2 w 118"/>
                <a:gd name="T49" fmla="*/ 38 h 92"/>
                <a:gd name="T50" fmla="*/ 0 w 118"/>
                <a:gd name="T51" fmla="*/ 30 h 92"/>
                <a:gd name="T52" fmla="*/ 0 w 118"/>
                <a:gd name="T53" fmla="*/ 20 h 92"/>
                <a:gd name="T54" fmla="*/ 2 w 118"/>
                <a:gd name="T55" fmla="*/ 14 h 92"/>
                <a:gd name="T56" fmla="*/ 2 w 118"/>
                <a:gd name="T57" fmla="*/ 14 h 92"/>
                <a:gd name="T58" fmla="*/ 8 w 118"/>
                <a:gd name="T59" fmla="*/ 8 h 92"/>
                <a:gd name="T60" fmla="*/ 14 w 118"/>
                <a:gd name="T61" fmla="*/ 4 h 92"/>
                <a:gd name="T62" fmla="*/ 22 w 118"/>
                <a:gd name="T63" fmla="*/ 0 h 92"/>
                <a:gd name="T64" fmla="*/ 32 w 118"/>
                <a:gd name="T65" fmla="*/ 0 h 92"/>
                <a:gd name="T66" fmla="*/ 44 w 118"/>
                <a:gd name="T67" fmla="*/ 0 h 92"/>
                <a:gd name="T68" fmla="*/ 54 w 118"/>
                <a:gd name="T69" fmla="*/ 4 h 92"/>
                <a:gd name="T70" fmla="*/ 66 w 118"/>
                <a:gd name="T71" fmla="*/ 8 h 92"/>
                <a:gd name="T72" fmla="*/ 78 w 118"/>
                <a:gd name="T73" fmla="*/ 14 h 92"/>
                <a:gd name="T74" fmla="*/ 78 w 118"/>
                <a:gd name="T75" fmla="*/ 14 h 9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8"/>
                <a:gd name="T115" fmla="*/ 0 h 92"/>
                <a:gd name="T116" fmla="*/ 118 w 118"/>
                <a:gd name="T117" fmla="*/ 92 h 9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8" h="92">
                  <a:moveTo>
                    <a:pt x="78" y="14"/>
                  </a:moveTo>
                  <a:lnTo>
                    <a:pt x="78" y="14"/>
                  </a:lnTo>
                  <a:lnTo>
                    <a:pt x="88" y="20"/>
                  </a:lnTo>
                  <a:lnTo>
                    <a:pt x="98" y="28"/>
                  </a:lnTo>
                  <a:lnTo>
                    <a:pt x="106" y="36"/>
                  </a:lnTo>
                  <a:lnTo>
                    <a:pt x="112" y="46"/>
                  </a:lnTo>
                  <a:lnTo>
                    <a:pt x="116" y="54"/>
                  </a:lnTo>
                  <a:lnTo>
                    <a:pt x="118" y="64"/>
                  </a:lnTo>
                  <a:lnTo>
                    <a:pt x="118" y="72"/>
                  </a:lnTo>
                  <a:lnTo>
                    <a:pt x="116" y="78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96" y="92"/>
                  </a:lnTo>
                  <a:lnTo>
                    <a:pt x="86" y="92"/>
                  </a:lnTo>
                  <a:lnTo>
                    <a:pt x="74" y="92"/>
                  </a:lnTo>
                  <a:lnTo>
                    <a:pt x="64" y="90"/>
                  </a:lnTo>
                  <a:lnTo>
                    <a:pt x="52" y="86"/>
                  </a:lnTo>
                  <a:lnTo>
                    <a:pt x="40" y="80"/>
                  </a:lnTo>
                  <a:lnTo>
                    <a:pt x="30" y="72"/>
                  </a:lnTo>
                  <a:lnTo>
                    <a:pt x="20" y="64"/>
                  </a:lnTo>
                  <a:lnTo>
                    <a:pt x="12" y="56"/>
                  </a:lnTo>
                  <a:lnTo>
                    <a:pt x="6" y="46"/>
                  </a:lnTo>
                  <a:lnTo>
                    <a:pt x="2" y="38"/>
                  </a:lnTo>
                  <a:lnTo>
                    <a:pt x="0" y="30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8" y="8"/>
                  </a:lnTo>
                  <a:lnTo>
                    <a:pt x="14" y="4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54" y="4"/>
                  </a:lnTo>
                  <a:lnTo>
                    <a:pt x="66" y="8"/>
                  </a:lnTo>
                  <a:lnTo>
                    <a:pt x="78" y="14"/>
                  </a:lnTo>
                  <a:close/>
                </a:path>
              </a:pathLst>
            </a:custGeom>
            <a:solidFill>
              <a:srgbClr val="F7F2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277"/>
            <p:cNvSpPr>
              <a:spLocks/>
            </p:cNvSpPr>
            <p:nvPr/>
          </p:nvSpPr>
          <p:spPr bwMode="auto">
            <a:xfrm>
              <a:off x="4634" y="2869"/>
              <a:ext cx="114" cy="90"/>
            </a:xfrm>
            <a:custGeom>
              <a:avLst/>
              <a:gdLst>
                <a:gd name="T0" fmla="*/ 76 w 114"/>
                <a:gd name="T1" fmla="*/ 12 h 90"/>
                <a:gd name="T2" fmla="*/ 76 w 114"/>
                <a:gd name="T3" fmla="*/ 12 h 90"/>
                <a:gd name="T4" fmla="*/ 86 w 114"/>
                <a:gd name="T5" fmla="*/ 20 h 90"/>
                <a:gd name="T6" fmla="*/ 96 w 114"/>
                <a:gd name="T7" fmla="*/ 26 h 90"/>
                <a:gd name="T8" fmla="*/ 104 w 114"/>
                <a:gd name="T9" fmla="*/ 36 h 90"/>
                <a:gd name="T10" fmla="*/ 108 w 114"/>
                <a:gd name="T11" fmla="*/ 44 h 90"/>
                <a:gd name="T12" fmla="*/ 112 w 114"/>
                <a:gd name="T13" fmla="*/ 52 h 90"/>
                <a:gd name="T14" fmla="*/ 114 w 114"/>
                <a:gd name="T15" fmla="*/ 60 h 90"/>
                <a:gd name="T16" fmla="*/ 114 w 114"/>
                <a:gd name="T17" fmla="*/ 68 h 90"/>
                <a:gd name="T18" fmla="*/ 112 w 114"/>
                <a:gd name="T19" fmla="*/ 76 h 90"/>
                <a:gd name="T20" fmla="*/ 112 w 114"/>
                <a:gd name="T21" fmla="*/ 76 h 90"/>
                <a:gd name="T22" fmla="*/ 108 w 114"/>
                <a:gd name="T23" fmla="*/ 82 h 90"/>
                <a:gd name="T24" fmla="*/ 100 w 114"/>
                <a:gd name="T25" fmla="*/ 86 h 90"/>
                <a:gd name="T26" fmla="*/ 92 w 114"/>
                <a:gd name="T27" fmla="*/ 88 h 90"/>
                <a:gd name="T28" fmla="*/ 82 w 114"/>
                <a:gd name="T29" fmla="*/ 90 h 90"/>
                <a:gd name="T30" fmla="*/ 72 w 114"/>
                <a:gd name="T31" fmla="*/ 88 h 90"/>
                <a:gd name="T32" fmla="*/ 62 w 114"/>
                <a:gd name="T33" fmla="*/ 86 h 90"/>
                <a:gd name="T34" fmla="*/ 50 w 114"/>
                <a:gd name="T35" fmla="*/ 82 h 90"/>
                <a:gd name="T36" fmla="*/ 38 w 114"/>
                <a:gd name="T37" fmla="*/ 76 h 90"/>
                <a:gd name="T38" fmla="*/ 38 w 114"/>
                <a:gd name="T39" fmla="*/ 76 h 90"/>
                <a:gd name="T40" fmla="*/ 28 w 114"/>
                <a:gd name="T41" fmla="*/ 70 h 90"/>
                <a:gd name="T42" fmla="*/ 20 w 114"/>
                <a:gd name="T43" fmla="*/ 62 h 90"/>
                <a:gd name="T44" fmla="*/ 12 w 114"/>
                <a:gd name="T45" fmla="*/ 54 h 90"/>
                <a:gd name="T46" fmla="*/ 6 w 114"/>
                <a:gd name="T47" fmla="*/ 44 h 90"/>
                <a:gd name="T48" fmla="*/ 2 w 114"/>
                <a:gd name="T49" fmla="*/ 36 h 90"/>
                <a:gd name="T50" fmla="*/ 0 w 114"/>
                <a:gd name="T51" fmla="*/ 28 h 90"/>
                <a:gd name="T52" fmla="*/ 0 w 114"/>
                <a:gd name="T53" fmla="*/ 20 h 90"/>
                <a:gd name="T54" fmla="*/ 2 w 114"/>
                <a:gd name="T55" fmla="*/ 12 h 90"/>
                <a:gd name="T56" fmla="*/ 2 w 114"/>
                <a:gd name="T57" fmla="*/ 12 h 90"/>
                <a:gd name="T58" fmla="*/ 8 w 114"/>
                <a:gd name="T59" fmla="*/ 6 h 90"/>
                <a:gd name="T60" fmla="*/ 14 w 114"/>
                <a:gd name="T61" fmla="*/ 2 h 90"/>
                <a:gd name="T62" fmla="*/ 22 w 114"/>
                <a:gd name="T63" fmla="*/ 0 h 90"/>
                <a:gd name="T64" fmla="*/ 32 w 114"/>
                <a:gd name="T65" fmla="*/ 0 h 90"/>
                <a:gd name="T66" fmla="*/ 42 w 114"/>
                <a:gd name="T67" fmla="*/ 0 h 90"/>
                <a:gd name="T68" fmla="*/ 52 w 114"/>
                <a:gd name="T69" fmla="*/ 2 h 90"/>
                <a:gd name="T70" fmla="*/ 64 w 114"/>
                <a:gd name="T71" fmla="*/ 6 h 90"/>
                <a:gd name="T72" fmla="*/ 76 w 114"/>
                <a:gd name="T73" fmla="*/ 12 h 90"/>
                <a:gd name="T74" fmla="*/ 76 w 114"/>
                <a:gd name="T75" fmla="*/ 12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4"/>
                <a:gd name="T115" fmla="*/ 0 h 90"/>
                <a:gd name="T116" fmla="*/ 114 w 114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4" h="90">
                  <a:moveTo>
                    <a:pt x="76" y="12"/>
                  </a:moveTo>
                  <a:lnTo>
                    <a:pt x="76" y="12"/>
                  </a:lnTo>
                  <a:lnTo>
                    <a:pt x="86" y="20"/>
                  </a:lnTo>
                  <a:lnTo>
                    <a:pt x="96" y="26"/>
                  </a:lnTo>
                  <a:lnTo>
                    <a:pt x="104" y="36"/>
                  </a:lnTo>
                  <a:lnTo>
                    <a:pt x="108" y="44"/>
                  </a:lnTo>
                  <a:lnTo>
                    <a:pt x="112" y="52"/>
                  </a:lnTo>
                  <a:lnTo>
                    <a:pt x="114" y="60"/>
                  </a:lnTo>
                  <a:lnTo>
                    <a:pt x="114" y="68"/>
                  </a:lnTo>
                  <a:lnTo>
                    <a:pt x="112" y="76"/>
                  </a:lnTo>
                  <a:lnTo>
                    <a:pt x="108" y="82"/>
                  </a:lnTo>
                  <a:lnTo>
                    <a:pt x="100" y="86"/>
                  </a:lnTo>
                  <a:lnTo>
                    <a:pt x="92" y="88"/>
                  </a:lnTo>
                  <a:lnTo>
                    <a:pt x="82" y="90"/>
                  </a:lnTo>
                  <a:lnTo>
                    <a:pt x="72" y="88"/>
                  </a:lnTo>
                  <a:lnTo>
                    <a:pt x="62" y="86"/>
                  </a:lnTo>
                  <a:lnTo>
                    <a:pt x="50" y="82"/>
                  </a:lnTo>
                  <a:lnTo>
                    <a:pt x="38" y="76"/>
                  </a:lnTo>
                  <a:lnTo>
                    <a:pt x="28" y="70"/>
                  </a:lnTo>
                  <a:lnTo>
                    <a:pt x="20" y="62"/>
                  </a:lnTo>
                  <a:lnTo>
                    <a:pt x="12" y="54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8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52" y="2"/>
                  </a:lnTo>
                  <a:lnTo>
                    <a:pt x="64" y="6"/>
                  </a:lnTo>
                  <a:lnTo>
                    <a:pt x="76" y="12"/>
                  </a:lnTo>
                  <a:close/>
                </a:path>
              </a:pathLst>
            </a:custGeom>
            <a:solidFill>
              <a:srgbClr val="F7F2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278"/>
            <p:cNvSpPr>
              <a:spLocks/>
            </p:cNvSpPr>
            <p:nvPr/>
          </p:nvSpPr>
          <p:spPr bwMode="auto">
            <a:xfrm>
              <a:off x="4636" y="2869"/>
              <a:ext cx="112" cy="88"/>
            </a:xfrm>
            <a:custGeom>
              <a:avLst/>
              <a:gdLst>
                <a:gd name="T0" fmla="*/ 74 w 112"/>
                <a:gd name="T1" fmla="*/ 14 h 88"/>
                <a:gd name="T2" fmla="*/ 74 w 112"/>
                <a:gd name="T3" fmla="*/ 14 h 88"/>
                <a:gd name="T4" fmla="*/ 84 w 112"/>
                <a:gd name="T5" fmla="*/ 20 h 88"/>
                <a:gd name="T6" fmla="*/ 92 w 112"/>
                <a:gd name="T7" fmla="*/ 28 h 88"/>
                <a:gd name="T8" fmla="*/ 100 w 112"/>
                <a:gd name="T9" fmla="*/ 36 h 88"/>
                <a:gd name="T10" fmla="*/ 106 w 112"/>
                <a:gd name="T11" fmla="*/ 44 h 88"/>
                <a:gd name="T12" fmla="*/ 110 w 112"/>
                <a:gd name="T13" fmla="*/ 52 h 88"/>
                <a:gd name="T14" fmla="*/ 112 w 112"/>
                <a:gd name="T15" fmla="*/ 60 h 88"/>
                <a:gd name="T16" fmla="*/ 110 w 112"/>
                <a:gd name="T17" fmla="*/ 68 h 88"/>
                <a:gd name="T18" fmla="*/ 108 w 112"/>
                <a:gd name="T19" fmla="*/ 74 h 88"/>
                <a:gd name="T20" fmla="*/ 108 w 112"/>
                <a:gd name="T21" fmla="*/ 74 h 88"/>
                <a:gd name="T22" fmla="*/ 104 w 112"/>
                <a:gd name="T23" fmla="*/ 80 h 88"/>
                <a:gd name="T24" fmla="*/ 98 w 112"/>
                <a:gd name="T25" fmla="*/ 84 h 88"/>
                <a:gd name="T26" fmla="*/ 90 w 112"/>
                <a:gd name="T27" fmla="*/ 86 h 88"/>
                <a:gd name="T28" fmla="*/ 80 w 112"/>
                <a:gd name="T29" fmla="*/ 88 h 88"/>
                <a:gd name="T30" fmla="*/ 70 w 112"/>
                <a:gd name="T31" fmla="*/ 86 h 88"/>
                <a:gd name="T32" fmla="*/ 60 w 112"/>
                <a:gd name="T33" fmla="*/ 84 h 88"/>
                <a:gd name="T34" fmla="*/ 48 w 112"/>
                <a:gd name="T35" fmla="*/ 80 h 88"/>
                <a:gd name="T36" fmla="*/ 38 w 112"/>
                <a:gd name="T37" fmla="*/ 76 h 88"/>
                <a:gd name="T38" fmla="*/ 38 w 112"/>
                <a:gd name="T39" fmla="*/ 76 h 88"/>
                <a:gd name="T40" fmla="*/ 28 w 112"/>
                <a:gd name="T41" fmla="*/ 68 h 88"/>
                <a:gd name="T42" fmla="*/ 18 w 112"/>
                <a:gd name="T43" fmla="*/ 60 h 88"/>
                <a:gd name="T44" fmla="*/ 12 w 112"/>
                <a:gd name="T45" fmla="*/ 52 h 88"/>
                <a:gd name="T46" fmla="*/ 6 w 112"/>
                <a:gd name="T47" fmla="*/ 44 h 88"/>
                <a:gd name="T48" fmla="*/ 2 w 112"/>
                <a:gd name="T49" fmla="*/ 36 h 88"/>
                <a:gd name="T50" fmla="*/ 0 w 112"/>
                <a:gd name="T51" fmla="*/ 28 h 88"/>
                <a:gd name="T52" fmla="*/ 0 w 112"/>
                <a:gd name="T53" fmla="*/ 20 h 88"/>
                <a:gd name="T54" fmla="*/ 2 w 112"/>
                <a:gd name="T55" fmla="*/ 14 h 88"/>
                <a:gd name="T56" fmla="*/ 2 w 112"/>
                <a:gd name="T57" fmla="*/ 14 h 88"/>
                <a:gd name="T58" fmla="*/ 8 w 112"/>
                <a:gd name="T59" fmla="*/ 8 h 88"/>
                <a:gd name="T60" fmla="*/ 14 w 112"/>
                <a:gd name="T61" fmla="*/ 4 h 88"/>
                <a:gd name="T62" fmla="*/ 22 w 112"/>
                <a:gd name="T63" fmla="*/ 2 h 88"/>
                <a:gd name="T64" fmla="*/ 30 w 112"/>
                <a:gd name="T65" fmla="*/ 0 h 88"/>
                <a:gd name="T66" fmla="*/ 40 w 112"/>
                <a:gd name="T67" fmla="*/ 2 h 88"/>
                <a:gd name="T68" fmla="*/ 52 w 112"/>
                <a:gd name="T69" fmla="*/ 4 h 88"/>
                <a:gd name="T70" fmla="*/ 62 w 112"/>
                <a:gd name="T71" fmla="*/ 8 h 88"/>
                <a:gd name="T72" fmla="*/ 74 w 112"/>
                <a:gd name="T73" fmla="*/ 14 h 88"/>
                <a:gd name="T74" fmla="*/ 74 w 112"/>
                <a:gd name="T75" fmla="*/ 14 h 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2"/>
                <a:gd name="T115" fmla="*/ 0 h 88"/>
                <a:gd name="T116" fmla="*/ 112 w 112"/>
                <a:gd name="T117" fmla="*/ 88 h 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2" h="88">
                  <a:moveTo>
                    <a:pt x="74" y="14"/>
                  </a:moveTo>
                  <a:lnTo>
                    <a:pt x="74" y="14"/>
                  </a:lnTo>
                  <a:lnTo>
                    <a:pt x="84" y="20"/>
                  </a:lnTo>
                  <a:lnTo>
                    <a:pt x="92" y="28"/>
                  </a:lnTo>
                  <a:lnTo>
                    <a:pt x="100" y="36"/>
                  </a:lnTo>
                  <a:lnTo>
                    <a:pt x="106" y="44"/>
                  </a:lnTo>
                  <a:lnTo>
                    <a:pt x="110" y="52"/>
                  </a:lnTo>
                  <a:lnTo>
                    <a:pt x="112" y="60"/>
                  </a:lnTo>
                  <a:lnTo>
                    <a:pt x="110" y="68"/>
                  </a:lnTo>
                  <a:lnTo>
                    <a:pt x="108" y="74"/>
                  </a:lnTo>
                  <a:lnTo>
                    <a:pt x="104" y="80"/>
                  </a:lnTo>
                  <a:lnTo>
                    <a:pt x="98" y="84"/>
                  </a:lnTo>
                  <a:lnTo>
                    <a:pt x="90" y="86"/>
                  </a:lnTo>
                  <a:lnTo>
                    <a:pt x="80" y="88"/>
                  </a:lnTo>
                  <a:lnTo>
                    <a:pt x="70" y="86"/>
                  </a:lnTo>
                  <a:lnTo>
                    <a:pt x="60" y="84"/>
                  </a:lnTo>
                  <a:lnTo>
                    <a:pt x="48" y="80"/>
                  </a:lnTo>
                  <a:lnTo>
                    <a:pt x="38" y="76"/>
                  </a:lnTo>
                  <a:lnTo>
                    <a:pt x="28" y="68"/>
                  </a:lnTo>
                  <a:lnTo>
                    <a:pt x="18" y="60"/>
                  </a:lnTo>
                  <a:lnTo>
                    <a:pt x="12" y="52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8" y="8"/>
                  </a:lnTo>
                  <a:lnTo>
                    <a:pt x="14" y="4"/>
                  </a:lnTo>
                  <a:lnTo>
                    <a:pt x="22" y="2"/>
                  </a:lnTo>
                  <a:lnTo>
                    <a:pt x="30" y="0"/>
                  </a:lnTo>
                  <a:lnTo>
                    <a:pt x="40" y="2"/>
                  </a:lnTo>
                  <a:lnTo>
                    <a:pt x="52" y="4"/>
                  </a:lnTo>
                  <a:lnTo>
                    <a:pt x="62" y="8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7EF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279"/>
            <p:cNvSpPr>
              <a:spLocks/>
            </p:cNvSpPr>
            <p:nvPr/>
          </p:nvSpPr>
          <p:spPr bwMode="auto">
            <a:xfrm>
              <a:off x="4638" y="2871"/>
              <a:ext cx="108" cy="84"/>
            </a:xfrm>
            <a:custGeom>
              <a:avLst/>
              <a:gdLst>
                <a:gd name="T0" fmla="*/ 70 w 108"/>
                <a:gd name="T1" fmla="*/ 12 h 84"/>
                <a:gd name="T2" fmla="*/ 70 w 108"/>
                <a:gd name="T3" fmla="*/ 12 h 84"/>
                <a:gd name="T4" fmla="*/ 80 w 108"/>
                <a:gd name="T5" fmla="*/ 18 h 84"/>
                <a:gd name="T6" fmla="*/ 90 w 108"/>
                <a:gd name="T7" fmla="*/ 26 h 84"/>
                <a:gd name="T8" fmla="*/ 96 w 108"/>
                <a:gd name="T9" fmla="*/ 34 h 84"/>
                <a:gd name="T10" fmla="*/ 102 w 108"/>
                <a:gd name="T11" fmla="*/ 42 h 84"/>
                <a:gd name="T12" fmla="*/ 106 w 108"/>
                <a:gd name="T13" fmla="*/ 50 h 84"/>
                <a:gd name="T14" fmla="*/ 108 w 108"/>
                <a:gd name="T15" fmla="*/ 58 h 84"/>
                <a:gd name="T16" fmla="*/ 108 w 108"/>
                <a:gd name="T17" fmla="*/ 66 h 84"/>
                <a:gd name="T18" fmla="*/ 104 w 108"/>
                <a:gd name="T19" fmla="*/ 72 h 84"/>
                <a:gd name="T20" fmla="*/ 104 w 108"/>
                <a:gd name="T21" fmla="*/ 72 h 84"/>
                <a:gd name="T22" fmla="*/ 100 w 108"/>
                <a:gd name="T23" fmla="*/ 78 h 84"/>
                <a:gd name="T24" fmla="*/ 94 w 108"/>
                <a:gd name="T25" fmla="*/ 82 h 84"/>
                <a:gd name="T26" fmla="*/ 86 w 108"/>
                <a:gd name="T27" fmla="*/ 84 h 84"/>
                <a:gd name="T28" fmla="*/ 78 w 108"/>
                <a:gd name="T29" fmla="*/ 84 h 84"/>
                <a:gd name="T30" fmla="*/ 68 w 108"/>
                <a:gd name="T31" fmla="*/ 84 h 84"/>
                <a:gd name="T32" fmla="*/ 58 w 108"/>
                <a:gd name="T33" fmla="*/ 82 h 84"/>
                <a:gd name="T34" fmla="*/ 48 w 108"/>
                <a:gd name="T35" fmla="*/ 78 h 84"/>
                <a:gd name="T36" fmla="*/ 36 w 108"/>
                <a:gd name="T37" fmla="*/ 72 h 84"/>
                <a:gd name="T38" fmla="*/ 36 w 108"/>
                <a:gd name="T39" fmla="*/ 72 h 84"/>
                <a:gd name="T40" fmla="*/ 26 w 108"/>
                <a:gd name="T41" fmla="*/ 66 h 84"/>
                <a:gd name="T42" fmla="*/ 18 w 108"/>
                <a:gd name="T43" fmla="*/ 58 h 84"/>
                <a:gd name="T44" fmla="*/ 10 w 108"/>
                <a:gd name="T45" fmla="*/ 50 h 84"/>
                <a:gd name="T46" fmla="*/ 6 w 108"/>
                <a:gd name="T47" fmla="*/ 42 h 84"/>
                <a:gd name="T48" fmla="*/ 2 w 108"/>
                <a:gd name="T49" fmla="*/ 34 h 84"/>
                <a:gd name="T50" fmla="*/ 0 w 108"/>
                <a:gd name="T51" fmla="*/ 26 h 84"/>
                <a:gd name="T52" fmla="*/ 0 w 108"/>
                <a:gd name="T53" fmla="*/ 20 h 84"/>
                <a:gd name="T54" fmla="*/ 2 w 108"/>
                <a:gd name="T55" fmla="*/ 12 h 84"/>
                <a:gd name="T56" fmla="*/ 2 w 108"/>
                <a:gd name="T57" fmla="*/ 12 h 84"/>
                <a:gd name="T58" fmla="*/ 8 w 108"/>
                <a:gd name="T59" fmla="*/ 8 h 84"/>
                <a:gd name="T60" fmla="*/ 14 w 108"/>
                <a:gd name="T61" fmla="*/ 4 h 84"/>
                <a:gd name="T62" fmla="*/ 20 w 108"/>
                <a:gd name="T63" fmla="*/ 2 h 84"/>
                <a:gd name="T64" fmla="*/ 30 w 108"/>
                <a:gd name="T65" fmla="*/ 0 h 84"/>
                <a:gd name="T66" fmla="*/ 40 w 108"/>
                <a:gd name="T67" fmla="*/ 2 h 84"/>
                <a:gd name="T68" fmla="*/ 50 w 108"/>
                <a:gd name="T69" fmla="*/ 4 h 84"/>
                <a:gd name="T70" fmla="*/ 60 w 108"/>
                <a:gd name="T71" fmla="*/ 8 h 84"/>
                <a:gd name="T72" fmla="*/ 70 w 108"/>
                <a:gd name="T73" fmla="*/ 12 h 84"/>
                <a:gd name="T74" fmla="*/ 70 w 108"/>
                <a:gd name="T75" fmla="*/ 12 h 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8"/>
                <a:gd name="T115" fmla="*/ 0 h 84"/>
                <a:gd name="T116" fmla="*/ 108 w 108"/>
                <a:gd name="T117" fmla="*/ 84 h 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8" h="84">
                  <a:moveTo>
                    <a:pt x="70" y="12"/>
                  </a:moveTo>
                  <a:lnTo>
                    <a:pt x="70" y="12"/>
                  </a:lnTo>
                  <a:lnTo>
                    <a:pt x="80" y="18"/>
                  </a:lnTo>
                  <a:lnTo>
                    <a:pt x="90" y="26"/>
                  </a:lnTo>
                  <a:lnTo>
                    <a:pt x="96" y="34"/>
                  </a:lnTo>
                  <a:lnTo>
                    <a:pt x="102" y="42"/>
                  </a:lnTo>
                  <a:lnTo>
                    <a:pt x="106" y="50"/>
                  </a:lnTo>
                  <a:lnTo>
                    <a:pt x="108" y="58"/>
                  </a:lnTo>
                  <a:lnTo>
                    <a:pt x="108" y="66"/>
                  </a:lnTo>
                  <a:lnTo>
                    <a:pt x="104" y="72"/>
                  </a:lnTo>
                  <a:lnTo>
                    <a:pt x="100" y="78"/>
                  </a:lnTo>
                  <a:lnTo>
                    <a:pt x="94" y="82"/>
                  </a:lnTo>
                  <a:lnTo>
                    <a:pt x="86" y="84"/>
                  </a:lnTo>
                  <a:lnTo>
                    <a:pt x="78" y="84"/>
                  </a:lnTo>
                  <a:lnTo>
                    <a:pt x="68" y="84"/>
                  </a:lnTo>
                  <a:lnTo>
                    <a:pt x="58" y="82"/>
                  </a:lnTo>
                  <a:lnTo>
                    <a:pt x="48" y="78"/>
                  </a:lnTo>
                  <a:lnTo>
                    <a:pt x="36" y="72"/>
                  </a:lnTo>
                  <a:lnTo>
                    <a:pt x="26" y="66"/>
                  </a:lnTo>
                  <a:lnTo>
                    <a:pt x="18" y="58"/>
                  </a:lnTo>
                  <a:lnTo>
                    <a:pt x="10" y="50"/>
                  </a:lnTo>
                  <a:lnTo>
                    <a:pt x="6" y="42"/>
                  </a:lnTo>
                  <a:lnTo>
                    <a:pt x="2" y="3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8" y="8"/>
                  </a:lnTo>
                  <a:lnTo>
                    <a:pt x="14" y="4"/>
                  </a:lnTo>
                  <a:lnTo>
                    <a:pt x="20" y="2"/>
                  </a:lnTo>
                  <a:lnTo>
                    <a:pt x="30" y="0"/>
                  </a:lnTo>
                  <a:lnTo>
                    <a:pt x="40" y="2"/>
                  </a:lnTo>
                  <a:lnTo>
                    <a:pt x="50" y="4"/>
                  </a:lnTo>
                  <a:lnTo>
                    <a:pt x="60" y="8"/>
                  </a:lnTo>
                  <a:lnTo>
                    <a:pt x="70" y="12"/>
                  </a:lnTo>
                  <a:close/>
                </a:path>
              </a:pathLst>
            </a:custGeom>
            <a:solidFill>
              <a:srgbClr val="F7ED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280"/>
            <p:cNvSpPr>
              <a:spLocks/>
            </p:cNvSpPr>
            <p:nvPr/>
          </p:nvSpPr>
          <p:spPr bwMode="auto">
            <a:xfrm>
              <a:off x="4640" y="2873"/>
              <a:ext cx="104" cy="80"/>
            </a:xfrm>
            <a:custGeom>
              <a:avLst/>
              <a:gdLst>
                <a:gd name="T0" fmla="*/ 68 w 104"/>
                <a:gd name="T1" fmla="*/ 12 h 80"/>
                <a:gd name="T2" fmla="*/ 68 w 104"/>
                <a:gd name="T3" fmla="*/ 12 h 80"/>
                <a:gd name="T4" fmla="*/ 78 w 104"/>
                <a:gd name="T5" fmla="*/ 18 h 80"/>
                <a:gd name="T6" fmla="*/ 86 w 104"/>
                <a:gd name="T7" fmla="*/ 24 h 80"/>
                <a:gd name="T8" fmla="*/ 94 w 104"/>
                <a:gd name="T9" fmla="*/ 32 h 80"/>
                <a:gd name="T10" fmla="*/ 98 w 104"/>
                <a:gd name="T11" fmla="*/ 40 h 80"/>
                <a:gd name="T12" fmla="*/ 102 w 104"/>
                <a:gd name="T13" fmla="*/ 48 h 80"/>
                <a:gd name="T14" fmla="*/ 104 w 104"/>
                <a:gd name="T15" fmla="*/ 56 h 80"/>
                <a:gd name="T16" fmla="*/ 104 w 104"/>
                <a:gd name="T17" fmla="*/ 62 h 80"/>
                <a:gd name="T18" fmla="*/ 102 w 104"/>
                <a:gd name="T19" fmla="*/ 68 h 80"/>
                <a:gd name="T20" fmla="*/ 102 w 104"/>
                <a:gd name="T21" fmla="*/ 68 h 80"/>
                <a:gd name="T22" fmla="*/ 98 w 104"/>
                <a:gd name="T23" fmla="*/ 74 h 80"/>
                <a:gd name="T24" fmla="*/ 92 w 104"/>
                <a:gd name="T25" fmla="*/ 78 h 80"/>
                <a:gd name="T26" fmla="*/ 84 w 104"/>
                <a:gd name="T27" fmla="*/ 80 h 80"/>
                <a:gd name="T28" fmla="*/ 76 w 104"/>
                <a:gd name="T29" fmla="*/ 80 h 80"/>
                <a:gd name="T30" fmla="*/ 66 w 104"/>
                <a:gd name="T31" fmla="*/ 80 h 80"/>
                <a:gd name="T32" fmla="*/ 56 w 104"/>
                <a:gd name="T33" fmla="*/ 78 h 80"/>
                <a:gd name="T34" fmla="*/ 46 w 104"/>
                <a:gd name="T35" fmla="*/ 74 h 80"/>
                <a:gd name="T36" fmla="*/ 36 w 104"/>
                <a:gd name="T37" fmla="*/ 70 h 80"/>
                <a:gd name="T38" fmla="*/ 36 w 104"/>
                <a:gd name="T39" fmla="*/ 70 h 80"/>
                <a:gd name="T40" fmla="*/ 26 w 104"/>
                <a:gd name="T41" fmla="*/ 64 h 80"/>
                <a:gd name="T42" fmla="*/ 18 w 104"/>
                <a:gd name="T43" fmla="*/ 56 h 80"/>
                <a:gd name="T44" fmla="*/ 10 w 104"/>
                <a:gd name="T45" fmla="*/ 48 h 80"/>
                <a:gd name="T46" fmla="*/ 6 w 104"/>
                <a:gd name="T47" fmla="*/ 40 h 80"/>
                <a:gd name="T48" fmla="*/ 2 w 104"/>
                <a:gd name="T49" fmla="*/ 34 h 80"/>
                <a:gd name="T50" fmla="*/ 0 w 104"/>
                <a:gd name="T51" fmla="*/ 26 h 80"/>
                <a:gd name="T52" fmla="*/ 0 w 104"/>
                <a:gd name="T53" fmla="*/ 18 h 80"/>
                <a:gd name="T54" fmla="*/ 2 w 104"/>
                <a:gd name="T55" fmla="*/ 12 h 80"/>
                <a:gd name="T56" fmla="*/ 2 w 104"/>
                <a:gd name="T57" fmla="*/ 12 h 80"/>
                <a:gd name="T58" fmla="*/ 6 w 104"/>
                <a:gd name="T59" fmla="*/ 6 h 80"/>
                <a:gd name="T60" fmla="*/ 12 w 104"/>
                <a:gd name="T61" fmla="*/ 4 h 80"/>
                <a:gd name="T62" fmla="*/ 20 w 104"/>
                <a:gd name="T63" fmla="*/ 0 h 80"/>
                <a:gd name="T64" fmla="*/ 28 w 104"/>
                <a:gd name="T65" fmla="*/ 0 h 80"/>
                <a:gd name="T66" fmla="*/ 38 w 104"/>
                <a:gd name="T67" fmla="*/ 0 h 80"/>
                <a:gd name="T68" fmla="*/ 48 w 104"/>
                <a:gd name="T69" fmla="*/ 2 h 80"/>
                <a:gd name="T70" fmla="*/ 58 w 104"/>
                <a:gd name="T71" fmla="*/ 6 h 80"/>
                <a:gd name="T72" fmla="*/ 68 w 104"/>
                <a:gd name="T73" fmla="*/ 12 h 80"/>
                <a:gd name="T74" fmla="*/ 68 w 104"/>
                <a:gd name="T75" fmla="*/ 12 h 8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4"/>
                <a:gd name="T115" fmla="*/ 0 h 80"/>
                <a:gd name="T116" fmla="*/ 104 w 104"/>
                <a:gd name="T117" fmla="*/ 80 h 8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4" h="80">
                  <a:moveTo>
                    <a:pt x="68" y="12"/>
                  </a:moveTo>
                  <a:lnTo>
                    <a:pt x="68" y="12"/>
                  </a:lnTo>
                  <a:lnTo>
                    <a:pt x="78" y="18"/>
                  </a:lnTo>
                  <a:lnTo>
                    <a:pt x="86" y="24"/>
                  </a:lnTo>
                  <a:lnTo>
                    <a:pt x="94" y="32"/>
                  </a:lnTo>
                  <a:lnTo>
                    <a:pt x="98" y="40"/>
                  </a:lnTo>
                  <a:lnTo>
                    <a:pt x="102" y="48"/>
                  </a:lnTo>
                  <a:lnTo>
                    <a:pt x="104" y="56"/>
                  </a:lnTo>
                  <a:lnTo>
                    <a:pt x="104" y="62"/>
                  </a:lnTo>
                  <a:lnTo>
                    <a:pt x="102" y="68"/>
                  </a:lnTo>
                  <a:lnTo>
                    <a:pt x="98" y="74"/>
                  </a:lnTo>
                  <a:lnTo>
                    <a:pt x="92" y="78"/>
                  </a:lnTo>
                  <a:lnTo>
                    <a:pt x="84" y="80"/>
                  </a:lnTo>
                  <a:lnTo>
                    <a:pt x="76" y="80"/>
                  </a:lnTo>
                  <a:lnTo>
                    <a:pt x="66" y="80"/>
                  </a:lnTo>
                  <a:lnTo>
                    <a:pt x="56" y="78"/>
                  </a:lnTo>
                  <a:lnTo>
                    <a:pt x="46" y="74"/>
                  </a:lnTo>
                  <a:lnTo>
                    <a:pt x="36" y="70"/>
                  </a:lnTo>
                  <a:lnTo>
                    <a:pt x="26" y="64"/>
                  </a:lnTo>
                  <a:lnTo>
                    <a:pt x="18" y="56"/>
                  </a:lnTo>
                  <a:lnTo>
                    <a:pt x="10" y="48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6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4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48" y="2"/>
                  </a:lnTo>
                  <a:lnTo>
                    <a:pt x="58" y="6"/>
                  </a:lnTo>
                  <a:lnTo>
                    <a:pt x="68" y="12"/>
                  </a:lnTo>
                  <a:close/>
                </a:path>
              </a:pathLst>
            </a:custGeom>
            <a:solidFill>
              <a:srgbClr val="F7ED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2" name="Freeform 281"/>
            <p:cNvSpPr>
              <a:spLocks/>
            </p:cNvSpPr>
            <p:nvPr/>
          </p:nvSpPr>
          <p:spPr bwMode="auto">
            <a:xfrm>
              <a:off x="4642" y="2875"/>
              <a:ext cx="100" cy="78"/>
            </a:xfrm>
            <a:custGeom>
              <a:avLst/>
              <a:gdLst>
                <a:gd name="T0" fmla="*/ 66 w 100"/>
                <a:gd name="T1" fmla="*/ 10 h 78"/>
                <a:gd name="T2" fmla="*/ 66 w 100"/>
                <a:gd name="T3" fmla="*/ 10 h 78"/>
                <a:gd name="T4" fmla="*/ 76 w 100"/>
                <a:gd name="T5" fmla="*/ 16 h 78"/>
                <a:gd name="T6" fmla="*/ 84 w 100"/>
                <a:gd name="T7" fmla="*/ 24 h 78"/>
                <a:gd name="T8" fmla="*/ 90 w 100"/>
                <a:gd name="T9" fmla="*/ 30 h 78"/>
                <a:gd name="T10" fmla="*/ 96 w 100"/>
                <a:gd name="T11" fmla="*/ 38 h 78"/>
                <a:gd name="T12" fmla="*/ 98 w 100"/>
                <a:gd name="T13" fmla="*/ 46 h 78"/>
                <a:gd name="T14" fmla="*/ 100 w 100"/>
                <a:gd name="T15" fmla="*/ 52 h 78"/>
                <a:gd name="T16" fmla="*/ 100 w 100"/>
                <a:gd name="T17" fmla="*/ 60 h 78"/>
                <a:gd name="T18" fmla="*/ 98 w 100"/>
                <a:gd name="T19" fmla="*/ 66 h 78"/>
                <a:gd name="T20" fmla="*/ 98 w 100"/>
                <a:gd name="T21" fmla="*/ 66 h 78"/>
                <a:gd name="T22" fmla="*/ 94 w 100"/>
                <a:gd name="T23" fmla="*/ 70 h 78"/>
                <a:gd name="T24" fmla="*/ 88 w 100"/>
                <a:gd name="T25" fmla="*/ 74 h 78"/>
                <a:gd name="T26" fmla="*/ 80 w 100"/>
                <a:gd name="T27" fmla="*/ 76 h 78"/>
                <a:gd name="T28" fmla="*/ 72 w 100"/>
                <a:gd name="T29" fmla="*/ 78 h 78"/>
                <a:gd name="T30" fmla="*/ 64 w 100"/>
                <a:gd name="T31" fmla="*/ 76 h 78"/>
                <a:gd name="T32" fmla="*/ 54 w 100"/>
                <a:gd name="T33" fmla="*/ 74 h 78"/>
                <a:gd name="T34" fmla="*/ 44 w 100"/>
                <a:gd name="T35" fmla="*/ 72 h 78"/>
                <a:gd name="T36" fmla="*/ 34 w 100"/>
                <a:gd name="T37" fmla="*/ 66 h 78"/>
                <a:gd name="T38" fmla="*/ 34 w 100"/>
                <a:gd name="T39" fmla="*/ 66 h 78"/>
                <a:gd name="T40" fmla="*/ 24 w 100"/>
                <a:gd name="T41" fmla="*/ 60 h 78"/>
                <a:gd name="T42" fmla="*/ 16 w 100"/>
                <a:gd name="T43" fmla="*/ 54 h 78"/>
                <a:gd name="T44" fmla="*/ 10 w 100"/>
                <a:gd name="T45" fmla="*/ 46 h 78"/>
                <a:gd name="T46" fmla="*/ 6 w 100"/>
                <a:gd name="T47" fmla="*/ 38 h 78"/>
                <a:gd name="T48" fmla="*/ 2 w 100"/>
                <a:gd name="T49" fmla="*/ 32 h 78"/>
                <a:gd name="T50" fmla="*/ 0 w 100"/>
                <a:gd name="T51" fmla="*/ 24 h 78"/>
                <a:gd name="T52" fmla="*/ 0 w 100"/>
                <a:gd name="T53" fmla="*/ 18 h 78"/>
                <a:gd name="T54" fmla="*/ 2 w 100"/>
                <a:gd name="T55" fmla="*/ 12 h 78"/>
                <a:gd name="T56" fmla="*/ 2 w 100"/>
                <a:gd name="T57" fmla="*/ 12 h 78"/>
                <a:gd name="T58" fmla="*/ 6 w 100"/>
                <a:gd name="T59" fmla="*/ 6 h 78"/>
                <a:gd name="T60" fmla="*/ 12 w 100"/>
                <a:gd name="T61" fmla="*/ 2 h 78"/>
                <a:gd name="T62" fmla="*/ 20 w 100"/>
                <a:gd name="T63" fmla="*/ 0 h 78"/>
                <a:gd name="T64" fmla="*/ 28 w 100"/>
                <a:gd name="T65" fmla="*/ 0 h 78"/>
                <a:gd name="T66" fmla="*/ 36 w 100"/>
                <a:gd name="T67" fmla="*/ 0 h 78"/>
                <a:gd name="T68" fmla="*/ 46 w 100"/>
                <a:gd name="T69" fmla="*/ 2 h 78"/>
                <a:gd name="T70" fmla="*/ 56 w 100"/>
                <a:gd name="T71" fmla="*/ 6 h 78"/>
                <a:gd name="T72" fmla="*/ 66 w 100"/>
                <a:gd name="T73" fmla="*/ 10 h 78"/>
                <a:gd name="T74" fmla="*/ 66 w 100"/>
                <a:gd name="T75" fmla="*/ 10 h 7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0"/>
                <a:gd name="T115" fmla="*/ 0 h 78"/>
                <a:gd name="T116" fmla="*/ 100 w 100"/>
                <a:gd name="T117" fmla="*/ 78 h 7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0" h="78">
                  <a:moveTo>
                    <a:pt x="66" y="10"/>
                  </a:moveTo>
                  <a:lnTo>
                    <a:pt x="66" y="10"/>
                  </a:lnTo>
                  <a:lnTo>
                    <a:pt x="76" y="16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8"/>
                  </a:lnTo>
                  <a:lnTo>
                    <a:pt x="98" y="46"/>
                  </a:lnTo>
                  <a:lnTo>
                    <a:pt x="100" y="52"/>
                  </a:lnTo>
                  <a:lnTo>
                    <a:pt x="100" y="60"/>
                  </a:lnTo>
                  <a:lnTo>
                    <a:pt x="98" y="66"/>
                  </a:lnTo>
                  <a:lnTo>
                    <a:pt x="94" y="70"/>
                  </a:lnTo>
                  <a:lnTo>
                    <a:pt x="88" y="74"/>
                  </a:lnTo>
                  <a:lnTo>
                    <a:pt x="80" y="76"/>
                  </a:lnTo>
                  <a:lnTo>
                    <a:pt x="72" y="78"/>
                  </a:lnTo>
                  <a:lnTo>
                    <a:pt x="64" y="76"/>
                  </a:lnTo>
                  <a:lnTo>
                    <a:pt x="54" y="74"/>
                  </a:lnTo>
                  <a:lnTo>
                    <a:pt x="44" y="72"/>
                  </a:lnTo>
                  <a:lnTo>
                    <a:pt x="34" y="66"/>
                  </a:lnTo>
                  <a:lnTo>
                    <a:pt x="24" y="60"/>
                  </a:lnTo>
                  <a:lnTo>
                    <a:pt x="16" y="54"/>
                  </a:lnTo>
                  <a:lnTo>
                    <a:pt x="10" y="46"/>
                  </a:lnTo>
                  <a:lnTo>
                    <a:pt x="6" y="38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46" y="2"/>
                  </a:lnTo>
                  <a:lnTo>
                    <a:pt x="56" y="6"/>
                  </a:lnTo>
                  <a:lnTo>
                    <a:pt x="66" y="10"/>
                  </a:lnTo>
                  <a:close/>
                </a:path>
              </a:pathLst>
            </a:custGeom>
            <a:solidFill>
              <a:srgbClr val="F7E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Freeform 282"/>
            <p:cNvSpPr>
              <a:spLocks/>
            </p:cNvSpPr>
            <p:nvPr/>
          </p:nvSpPr>
          <p:spPr bwMode="auto">
            <a:xfrm>
              <a:off x="4644" y="2877"/>
              <a:ext cx="96" cy="74"/>
            </a:xfrm>
            <a:custGeom>
              <a:avLst/>
              <a:gdLst>
                <a:gd name="T0" fmla="*/ 64 w 96"/>
                <a:gd name="T1" fmla="*/ 10 h 74"/>
                <a:gd name="T2" fmla="*/ 64 w 96"/>
                <a:gd name="T3" fmla="*/ 10 h 74"/>
                <a:gd name="T4" fmla="*/ 72 w 96"/>
                <a:gd name="T5" fmla="*/ 16 h 74"/>
                <a:gd name="T6" fmla="*/ 80 w 96"/>
                <a:gd name="T7" fmla="*/ 22 h 74"/>
                <a:gd name="T8" fmla="*/ 86 w 96"/>
                <a:gd name="T9" fmla="*/ 30 h 74"/>
                <a:gd name="T10" fmla="*/ 92 w 96"/>
                <a:gd name="T11" fmla="*/ 36 h 74"/>
                <a:gd name="T12" fmla="*/ 96 w 96"/>
                <a:gd name="T13" fmla="*/ 44 h 74"/>
                <a:gd name="T14" fmla="*/ 96 w 96"/>
                <a:gd name="T15" fmla="*/ 50 h 74"/>
                <a:gd name="T16" fmla="*/ 96 w 96"/>
                <a:gd name="T17" fmla="*/ 58 h 74"/>
                <a:gd name="T18" fmla="*/ 94 w 96"/>
                <a:gd name="T19" fmla="*/ 62 h 74"/>
                <a:gd name="T20" fmla="*/ 94 w 96"/>
                <a:gd name="T21" fmla="*/ 62 h 74"/>
                <a:gd name="T22" fmla="*/ 90 w 96"/>
                <a:gd name="T23" fmla="*/ 68 h 74"/>
                <a:gd name="T24" fmla="*/ 84 w 96"/>
                <a:gd name="T25" fmla="*/ 72 h 74"/>
                <a:gd name="T26" fmla="*/ 78 w 96"/>
                <a:gd name="T27" fmla="*/ 74 h 74"/>
                <a:gd name="T28" fmla="*/ 70 w 96"/>
                <a:gd name="T29" fmla="*/ 74 h 74"/>
                <a:gd name="T30" fmla="*/ 62 w 96"/>
                <a:gd name="T31" fmla="*/ 74 h 74"/>
                <a:gd name="T32" fmla="*/ 52 w 96"/>
                <a:gd name="T33" fmla="*/ 72 h 74"/>
                <a:gd name="T34" fmla="*/ 42 w 96"/>
                <a:gd name="T35" fmla="*/ 68 h 74"/>
                <a:gd name="T36" fmla="*/ 34 w 96"/>
                <a:gd name="T37" fmla="*/ 64 h 74"/>
                <a:gd name="T38" fmla="*/ 34 w 96"/>
                <a:gd name="T39" fmla="*/ 64 h 74"/>
                <a:gd name="T40" fmla="*/ 24 w 96"/>
                <a:gd name="T41" fmla="*/ 58 h 74"/>
                <a:gd name="T42" fmla="*/ 16 w 96"/>
                <a:gd name="T43" fmla="*/ 52 h 74"/>
                <a:gd name="T44" fmla="*/ 10 w 96"/>
                <a:gd name="T45" fmla="*/ 44 h 74"/>
                <a:gd name="T46" fmla="*/ 6 w 96"/>
                <a:gd name="T47" fmla="*/ 36 h 74"/>
                <a:gd name="T48" fmla="*/ 2 w 96"/>
                <a:gd name="T49" fmla="*/ 30 h 74"/>
                <a:gd name="T50" fmla="*/ 0 w 96"/>
                <a:gd name="T51" fmla="*/ 22 h 74"/>
                <a:gd name="T52" fmla="*/ 0 w 96"/>
                <a:gd name="T53" fmla="*/ 16 h 74"/>
                <a:gd name="T54" fmla="*/ 2 w 96"/>
                <a:gd name="T55" fmla="*/ 10 h 74"/>
                <a:gd name="T56" fmla="*/ 2 w 96"/>
                <a:gd name="T57" fmla="*/ 10 h 74"/>
                <a:gd name="T58" fmla="*/ 6 w 96"/>
                <a:gd name="T59" fmla="*/ 6 h 74"/>
                <a:gd name="T60" fmla="*/ 12 w 96"/>
                <a:gd name="T61" fmla="*/ 2 h 74"/>
                <a:gd name="T62" fmla="*/ 20 w 96"/>
                <a:gd name="T63" fmla="*/ 0 h 74"/>
                <a:gd name="T64" fmla="*/ 26 w 96"/>
                <a:gd name="T65" fmla="*/ 0 h 74"/>
                <a:gd name="T66" fmla="*/ 36 w 96"/>
                <a:gd name="T67" fmla="*/ 0 h 74"/>
                <a:gd name="T68" fmla="*/ 44 w 96"/>
                <a:gd name="T69" fmla="*/ 2 h 74"/>
                <a:gd name="T70" fmla="*/ 54 w 96"/>
                <a:gd name="T71" fmla="*/ 6 h 74"/>
                <a:gd name="T72" fmla="*/ 64 w 96"/>
                <a:gd name="T73" fmla="*/ 10 h 74"/>
                <a:gd name="T74" fmla="*/ 64 w 96"/>
                <a:gd name="T75" fmla="*/ 10 h 7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6"/>
                <a:gd name="T115" fmla="*/ 0 h 74"/>
                <a:gd name="T116" fmla="*/ 96 w 96"/>
                <a:gd name="T117" fmla="*/ 74 h 7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6" h="74">
                  <a:moveTo>
                    <a:pt x="64" y="10"/>
                  </a:moveTo>
                  <a:lnTo>
                    <a:pt x="64" y="10"/>
                  </a:lnTo>
                  <a:lnTo>
                    <a:pt x="72" y="16"/>
                  </a:lnTo>
                  <a:lnTo>
                    <a:pt x="80" y="22"/>
                  </a:lnTo>
                  <a:lnTo>
                    <a:pt x="86" y="30"/>
                  </a:lnTo>
                  <a:lnTo>
                    <a:pt x="92" y="36"/>
                  </a:lnTo>
                  <a:lnTo>
                    <a:pt x="96" y="44"/>
                  </a:lnTo>
                  <a:lnTo>
                    <a:pt x="96" y="50"/>
                  </a:lnTo>
                  <a:lnTo>
                    <a:pt x="96" y="58"/>
                  </a:lnTo>
                  <a:lnTo>
                    <a:pt x="94" y="62"/>
                  </a:lnTo>
                  <a:lnTo>
                    <a:pt x="90" y="68"/>
                  </a:lnTo>
                  <a:lnTo>
                    <a:pt x="84" y="72"/>
                  </a:lnTo>
                  <a:lnTo>
                    <a:pt x="78" y="74"/>
                  </a:lnTo>
                  <a:lnTo>
                    <a:pt x="70" y="74"/>
                  </a:lnTo>
                  <a:lnTo>
                    <a:pt x="62" y="74"/>
                  </a:lnTo>
                  <a:lnTo>
                    <a:pt x="52" y="72"/>
                  </a:lnTo>
                  <a:lnTo>
                    <a:pt x="42" y="68"/>
                  </a:lnTo>
                  <a:lnTo>
                    <a:pt x="34" y="64"/>
                  </a:lnTo>
                  <a:lnTo>
                    <a:pt x="24" y="58"/>
                  </a:lnTo>
                  <a:lnTo>
                    <a:pt x="16" y="52"/>
                  </a:lnTo>
                  <a:lnTo>
                    <a:pt x="10" y="44"/>
                  </a:lnTo>
                  <a:lnTo>
                    <a:pt x="6" y="36"/>
                  </a:lnTo>
                  <a:lnTo>
                    <a:pt x="2" y="30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0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6" y="0"/>
                  </a:lnTo>
                  <a:lnTo>
                    <a:pt x="44" y="2"/>
                  </a:lnTo>
                  <a:lnTo>
                    <a:pt x="54" y="6"/>
                  </a:lnTo>
                  <a:lnTo>
                    <a:pt x="64" y="10"/>
                  </a:lnTo>
                  <a:close/>
                </a:path>
              </a:pathLst>
            </a:custGeom>
            <a:solidFill>
              <a:srgbClr val="F7E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4" name="Freeform 283"/>
            <p:cNvSpPr>
              <a:spLocks/>
            </p:cNvSpPr>
            <p:nvPr/>
          </p:nvSpPr>
          <p:spPr bwMode="auto">
            <a:xfrm>
              <a:off x="4646" y="2877"/>
              <a:ext cx="94" cy="72"/>
            </a:xfrm>
            <a:custGeom>
              <a:avLst/>
              <a:gdLst>
                <a:gd name="T0" fmla="*/ 62 w 94"/>
                <a:gd name="T1" fmla="*/ 10 h 72"/>
                <a:gd name="T2" fmla="*/ 62 w 94"/>
                <a:gd name="T3" fmla="*/ 10 h 72"/>
                <a:gd name="T4" fmla="*/ 70 w 94"/>
                <a:gd name="T5" fmla="*/ 16 h 72"/>
                <a:gd name="T6" fmla="*/ 78 w 94"/>
                <a:gd name="T7" fmla="*/ 22 h 72"/>
                <a:gd name="T8" fmla="*/ 84 w 94"/>
                <a:gd name="T9" fmla="*/ 30 h 72"/>
                <a:gd name="T10" fmla="*/ 88 w 94"/>
                <a:gd name="T11" fmla="*/ 36 h 72"/>
                <a:gd name="T12" fmla="*/ 92 w 94"/>
                <a:gd name="T13" fmla="*/ 44 h 72"/>
                <a:gd name="T14" fmla="*/ 94 w 94"/>
                <a:gd name="T15" fmla="*/ 50 h 72"/>
                <a:gd name="T16" fmla="*/ 92 w 94"/>
                <a:gd name="T17" fmla="*/ 56 h 72"/>
                <a:gd name="T18" fmla="*/ 90 w 94"/>
                <a:gd name="T19" fmla="*/ 62 h 72"/>
                <a:gd name="T20" fmla="*/ 90 w 94"/>
                <a:gd name="T21" fmla="*/ 62 h 72"/>
                <a:gd name="T22" fmla="*/ 86 w 94"/>
                <a:gd name="T23" fmla="*/ 66 h 72"/>
                <a:gd name="T24" fmla="*/ 82 w 94"/>
                <a:gd name="T25" fmla="*/ 70 h 72"/>
                <a:gd name="T26" fmla="*/ 76 w 94"/>
                <a:gd name="T27" fmla="*/ 72 h 72"/>
                <a:gd name="T28" fmla="*/ 68 w 94"/>
                <a:gd name="T29" fmla="*/ 72 h 72"/>
                <a:gd name="T30" fmla="*/ 60 w 94"/>
                <a:gd name="T31" fmla="*/ 72 h 72"/>
                <a:gd name="T32" fmla="*/ 50 w 94"/>
                <a:gd name="T33" fmla="*/ 70 h 72"/>
                <a:gd name="T34" fmla="*/ 42 w 94"/>
                <a:gd name="T35" fmla="*/ 68 h 72"/>
                <a:gd name="T36" fmla="*/ 32 w 94"/>
                <a:gd name="T37" fmla="*/ 62 h 72"/>
                <a:gd name="T38" fmla="*/ 32 w 94"/>
                <a:gd name="T39" fmla="*/ 62 h 72"/>
                <a:gd name="T40" fmla="*/ 24 w 94"/>
                <a:gd name="T41" fmla="*/ 56 h 72"/>
                <a:gd name="T42" fmla="*/ 16 w 94"/>
                <a:gd name="T43" fmla="*/ 50 h 72"/>
                <a:gd name="T44" fmla="*/ 10 w 94"/>
                <a:gd name="T45" fmla="*/ 44 h 72"/>
                <a:gd name="T46" fmla="*/ 6 w 94"/>
                <a:gd name="T47" fmla="*/ 38 h 72"/>
                <a:gd name="T48" fmla="*/ 2 w 94"/>
                <a:gd name="T49" fmla="*/ 30 h 72"/>
                <a:gd name="T50" fmla="*/ 0 w 94"/>
                <a:gd name="T51" fmla="*/ 24 h 72"/>
                <a:gd name="T52" fmla="*/ 0 w 94"/>
                <a:gd name="T53" fmla="*/ 18 h 72"/>
                <a:gd name="T54" fmla="*/ 2 w 94"/>
                <a:gd name="T55" fmla="*/ 12 h 72"/>
                <a:gd name="T56" fmla="*/ 2 w 94"/>
                <a:gd name="T57" fmla="*/ 12 h 72"/>
                <a:gd name="T58" fmla="*/ 6 w 94"/>
                <a:gd name="T59" fmla="*/ 6 h 72"/>
                <a:gd name="T60" fmla="*/ 12 w 94"/>
                <a:gd name="T61" fmla="*/ 4 h 72"/>
                <a:gd name="T62" fmla="*/ 18 w 94"/>
                <a:gd name="T63" fmla="*/ 2 h 72"/>
                <a:gd name="T64" fmla="*/ 26 w 94"/>
                <a:gd name="T65" fmla="*/ 0 h 72"/>
                <a:gd name="T66" fmla="*/ 34 w 94"/>
                <a:gd name="T67" fmla="*/ 2 h 72"/>
                <a:gd name="T68" fmla="*/ 44 w 94"/>
                <a:gd name="T69" fmla="*/ 4 h 72"/>
                <a:gd name="T70" fmla="*/ 52 w 94"/>
                <a:gd name="T71" fmla="*/ 6 h 72"/>
                <a:gd name="T72" fmla="*/ 62 w 94"/>
                <a:gd name="T73" fmla="*/ 10 h 72"/>
                <a:gd name="T74" fmla="*/ 62 w 94"/>
                <a:gd name="T75" fmla="*/ 10 h 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4"/>
                <a:gd name="T115" fmla="*/ 0 h 72"/>
                <a:gd name="T116" fmla="*/ 94 w 94"/>
                <a:gd name="T117" fmla="*/ 72 h 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4" h="72">
                  <a:moveTo>
                    <a:pt x="62" y="10"/>
                  </a:moveTo>
                  <a:lnTo>
                    <a:pt x="62" y="10"/>
                  </a:lnTo>
                  <a:lnTo>
                    <a:pt x="70" y="16"/>
                  </a:lnTo>
                  <a:lnTo>
                    <a:pt x="78" y="22"/>
                  </a:lnTo>
                  <a:lnTo>
                    <a:pt x="84" y="30"/>
                  </a:lnTo>
                  <a:lnTo>
                    <a:pt x="88" y="36"/>
                  </a:lnTo>
                  <a:lnTo>
                    <a:pt x="92" y="44"/>
                  </a:lnTo>
                  <a:lnTo>
                    <a:pt x="94" y="50"/>
                  </a:lnTo>
                  <a:lnTo>
                    <a:pt x="92" y="56"/>
                  </a:lnTo>
                  <a:lnTo>
                    <a:pt x="90" y="62"/>
                  </a:lnTo>
                  <a:lnTo>
                    <a:pt x="86" y="66"/>
                  </a:lnTo>
                  <a:lnTo>
                    <a:pt x="82" y="70"/>
                  </a:lnTo>
                  <a:lnTo>
                    <a:pt x="76" y="72"/>
                  </a:lnTo>
                  <a:lnTo>
                    <a:pt x="68" y="72"/>
                  </a:lnTo>
                  <a:lnTo>
                    <a:pt x="60" y="72"/>
                  </a:lnTo>
                  <a:lnTo>
                    <a:pt x="50" y="70"/>
                  </a:lnTo>
                  <a:lnTo>
                    <a:pt x="42" y="68"/>
                  </a:lnTo>
                  <a:lnTo>
                    <a:pt x="32" y="62"/>
                  </a:lnTo>
                  <a:lnTo>
                    <a:pt x="24" y="56"/>
                  </a:lnTo>
                  <a:lnTo>
                    <a:pt x="16" y="50"/>
                  </a:lnTo>
                  <a:lnTo>
                    <a:pt x="10" y="44"/>
                  </a:lnTo>
                  <a:lnTo>
                    <a:pt x="6" y="38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4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34" y="2"/>
                  </a:lnTo>
                  <a:lnTo>
                    <a:pt x="44" y="4"/>
                  </a:lnTo>
                  <a:lnTo>
                    <a:pt x="52" y="6"/>
                  </a:lnTo>
                  <a:lnTo>
                    <a:pt x="62" y="10"/>
                  </a:lnTo>
                  <a:close/>
                </a:path>
              </a:pathLst>
            </a:custGeom>
            <a:solidFill>
              <a:srgbClr val="F7E8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284"/>
            <p:cNvSpPr>
              <a:spLocks/>
            </p:cNvSpPr>
            <p:nvPr/>
          </p:nvSpPr>
          <p:spPr bwMode="auto">
            <a:xfrm>
              <a:off x="4648" y="2879"/>
              <a:ext cx="90" cy="70"/>
            </a:xfrm>
            <a:custGeom>
              <a:avLst/>
              <a:gdLst>
                <a:gd name="T0" fmla="*/ 60 w 90"/>
                <a:gd name="T1" fmla="*/ 10 h 70"/>
                <a:gd name="T2" fmla="*/ 60 w 90"/>
                <a:gd name="T3" fmla="*/ 10 h 70"/>
                <a:gd name="T4" fmla="*/ 74 w 90"/>
                <a:gd name="T5" fmla="*/ 22 h 70"/>
                <a:gd name="T6" fmla="*/ 84 w 90"/>
                <a:gd name="T7" fmla="*/ 34 h 70"/>
                <a:gd name="T8" fmla="*/ 88 w 90"/>
                <a:gd name="T9" fmla="*/ 42 h 70"/>
                <a:gd name="T10" fmla="*/ 90 w 90"/>
                <a:gd name="T11" fmla="*/ 48 h 70"/>
                <a:gd name="T12" fmla="*/ 90 w 90"/>
                <a:gd name="T13" fmla="*/ 54 h 70"/>
                <a:gd name="T14" fmla="*/ 88 w 90"/>
                <a:gd name="T15" fmla="*/ 60 h 70"/>
                <a:gd name="T16" fmla="*/ 88 w 90"/>
                <a:gd name="T17" fmla="*/ 60 h 70"/>
                <a:gd name="T18" fmla="*/ 84 w 90"/>
                <a:gd name="T19" fmla="*/ 64 h 70"/>
                <a:gd name="T20" fmla="*/ 78 w 90"/>
                <a:gd name="T21" fmla="*/ 66 h 70"/>
                <a:gd name="T22" fmla="*/ 72 w 90"/>
                <a:gd name="T23" fmla="*/ 68 h 70"/>
                <a:gd name="T24" fmla="*/ 64 w 90"/>
                <a:gd name="T25" fmla="*/ 70 h 70"/>
                <a:gd name="T26" fmla="*/ 48 w 90"/>
                <a:gd name="T27" fmla="*/ 68 h 70"/>
                <a:gd name="T28" fmla="*/ 30 w 90"/>
                <a:gd name="T29" fmla="*/ 60 h 70"/>
                <a:gd name="T30" fmla="*/ 30 w 90"/>
                <a:gd name="T31" fmla="*/ 60 h 70"/>
                <a:gd name="T32" fmla="*/ 16 w 90"/>
                <a:gd name="T33" fmla="*/ 48 h 70"/>
                <a:gd name="T34" fmla="*/ 4 w 90"/>
                <a:gd name="T35" fmla="*/ 36 h 70"/>
                <a:gd name="T36" fmla="*/ 2 w 90"/>
                <a:gd name="T37" fmla="*/ 28 h 70"/>
                <a:gd name="T38" fmla="*/ 0 w 90"/>
                <a:gd name="T39" fmla="*/ 22 h 70"/>
                <a:gd name="T40" fmla="*/ 0 w 90"/>
                <a:gd name="T41" fmla="*/ 16 h 70"/>
                <a:gd name="T42" fmla="*/ 2 w 90"/>
                <a:gd name="T43" fmla="*/ 10 h 70"/>
                <a:gd name="T44" fmla="*/ 2 w 90"/>
                <a:gd name="T45" fmla="*/ 10 h 70"/>
                <a:gd name="T46" fmla="*/ 6 w 90"/>
                <a:gd name="T47" fmla="*/ 6 h 70"/>
                <a:gd name="T48" fmla="*/ 12 w 90"/>
                <a:gd name="T49" fmla="*/ 2 h 70"/>
                <a:gd name="T50" fmla="*/ 18 w 90"/>
                <a:gd name="T51" fmla="*/ 0 h 70"/>
                <a:gd name="T52" fmla="*/ 26 w 90"/>
                <a:gd name="T53" fmla="*/ 0 h 70"/>
                <a:gd name="T54" fmla="*/ 42 w 90"/>
                <a:gd name="T55" fmla="*/ 2 h 70"/>
                <a:gd name="T56" fmla="*/ 60 w 90"/>
                <a:gd name="T57" fmla="*/ 10 h 70"/>
                <a:gd name="T58" fmla="*/ 60 w 90"/>
                <a:gd name="T59" fmla="*/ 10 h 7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0"/>
                <a:gd name="T91" fmla="*/ 0 h 70"/>
                <a:gd name="T92" fmla="*/ 90 w 90"/>
                <a:gd name="T93" fmla="*/ 70 h 7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0" h="70">
                  <a:moveTo>
                    <a:pt x="60" y="10"/>
                  </a:moveTo>
                  <a:lnTo>
                    <a:pt x="60" y="10"/>
                  </a:lnTo>
                  <a:lnTo>
                    <a:pt x="74" y="22"/>
                  </a:lnTo>
                  <a:lnTo>
                    <a:pt x="84" y="34"/>
                  </a:lnTo>
                  <a:lnTo>
                    <a:pt x="88" y="42"/>
                  </a:lnTo>
                  <a:lnTo>
                    <a:pt x="90" y="48"/>
                  </a:lnTo>
                  <a:lnTo>
                    <a:pt x="90" y="54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78" y="66"/>
                  </a:lnTo>
                  <a:lnTo>
                    <a:pt x="72" y="68"/>
                  </a:lnTo>
                  <a:lnTo>
                    <a:pt x="64" y="70"/>
                  </a:lnTo>
                  <a:lnTo>
                    <a:pt x="48" y="68"/>
                  </a:lnTo>
                  <a:lnTo>
                    <a:pt x="30" y="60"/>
                  </a:lnTo>
                  <a:lnTo>
                    <a:pt x="16" y="48"/>
                  </a:lnTo>
                  <a:lnTo>
                    <a:pt x="4" y="36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0"/>
                  </a:lnTo>
                  <a:lnTo>
                    <a:pt x="6" y="6"/>
                  </a:lnTo>
                  <a:lnTo>
                    <a:pt x="12" y="2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42" y="2"/>
                  </a:lnTo>
                  <a:lnTo>
                    <a:pt x="60" y="10"/>
                  </a:lnTo>
                  <a:close/>
                </a:path>
              </a:pathLst>
            </a:custGeom>
            <a:solidFill>
              <a:srgbClr val="F7E8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6" name="Freeform 285"/>
            <p:cNvSpPr>
              <a:spLocks/>
            </p:cNvSpPr>
            <p:nvPr/>
          </p:nvSpPr>
          <p:spPr bwMode="auto">
            <a:xfrm>
              <a:off x="4650" y="2881"/>
              <a:ext cx="86" cy="66"/>
            </a:xfrm>
            <a:custGeom>
              <a:avLst/>
              <a:gdLst>
                <a:gd name="T0" fmla="*/ 56 w 86"/>
                <a:gd name="T1" fmla="*/ 10 h 66"/>
                <a:gd name="T2" fmla="*/ 56 w 86"/>
                <a:gd name="T3" fmla="*/ 10 h 66"/>
                <a:gd name="T4" fmla="*/ 72 w 86"/>
                <a:gd name="T5" fmla="*/ 20 h 66"/>
                <a:gd name="T6" fmla="*/ 82 w 86"/>
                <a:gd name="T7" fmla="*/ 32 h 66"/>
                <a:gd name="T8" fmla="*/ 84 w 86"/>
                <a:gd name="T9" fmla="*/ 38 h 66"/>
                <a:gd name="T10" fmla="*/ 86 w 86"/>
                <a:gd name="T11" fmla="*/ 46 h 66"/>
                <a:gd name="T12" fmla="*/ 86 w 86"/>
                <a:gd name="T13" fmla="*/ 50 h 66"/>
                <a:gd name="T14" fmla="*/ 84 w 86"/>
                <a:gd name="T15" fmla="*/ 56 h 66"/>
                <a:gd name="T16" fmla="*/ 84 w 86"/>
                <a:gd name="T17" fmla="*/ 56 h 66"/>
                <a:gd name="T18" fmla="*/ 80 w 86"/>
                <a:gd name="T19" fmla="*/ 60 h 66"/>
                <a:gd name="T20" fmla="*/ 76 w 86"/>
                <a:gd name="T21" fmla="*/ 64 h 66"/>
                <a:gd name="T22" fmla="*/ 70 w 86"/>
                <a:gd name="T23" fmla="*/ 66 h 66"/>
                <a:gd name="T24" fmla="*/ 62 w 86"/>
                <a:gd name="T25" fmla="*/ 66 h 66"/>
                <a:gd name="T26" fmla="*/ 46 w 86"/>
                <a:gd name="T27" fmla="*/ 64 h 66"/>
                <a:gd name="T28" fmla="*/ 30 w 86"/>
                <a:gd name="T29" fmla="*/ 56 h 66"/>
                <a:gd name="T30" fmla="*/ 30 w 86"/>
                <a:gd name="T31" fmla="*/ 56 h 66"/>
                <a:gd name="T32" fmla="*/ 14 w 86"/>
                <a:gd name="T33" fmla="*/ 46 h 66"/>
                <a:gd name="T34" fmla="*/ 4 w 86"/>
                <a:gd name="T35" fmla="*/ 34 h 66"/>
                <a:gd name="T36" fmla="*/ 2 w 86"/>
                <a:gd name="T37" fmla="*/ 26 h 66"/>
                <a:gd name="T38" fmla="*/ 0 w 86"/>
                <a:gd name="T39" fmla="*/ 20 h 66"/>
                <a:gd name="T40" fmla="*/ 0 w 86"/>
                <a:gd name="T41" fmla="*/ 14 h 66"/>
                <a:gd name="T42" fmla="*/ 2 w 86"/>
                <a:gd name="T43" fmla="*/ 10 h 66"/>
                <a:gd name="T44" fmla="*/ 2 w 86"/>
                <a:gd name="T45" fmla="*/ 10 h 66"/>
                <a:gd name="T46" fmla="*/ 6 w 86"/>
                <a:gd name="T47" fmla="*/ 6 h 66"/>
                <a:gd name="T48" fmla="*/ 12 w 86"/>
                <a:gd name="T49" fmla="*/ 2 h 66"/>
                <a:gd name="T50" fmla="*/ 18 w 86"/>
                <a:gd name="T51" fmla="*/ 0 h 66"/>
                <a:gd name="T52" fmla="*/ 24 w 86"/>
                <a:gd name="T53" fmla="*/ 0 h 66"/>
                <a:gd name="T54" fmla="*/ 40 w 86"/>
                <a:gd name="T55" fmla="*/ 2 h 66"/>
                <a:gd name="T56" fmla="*/ 56 w 86"/>
                <a:gd name="T57" fmla="*/ 10 h 66"/>
                <a:gd name="T58" fmla="*/ 56 w 86"/>
                <a:gd name="T59" fmla="*/ 10 h 6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6"/>
                <a:gd name="T91" fmla="*/ 0 h 66"/>
                <a:gd name="T92" fmla="*/ 86 w 86"/>
                <a:gd name="T93" fmla="*/ 66 h 6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6" h="66">
                  <a:moveTo>
                    <a:pt x="56" y="10"/>
                  </a:moveTo>
                  <a:lnTo>
                    <a:pt x="56" y="10"/>
                  </a:lnTo>
                  <a:lnTo>
                    <a:pt x="72" y="20"/>
                  </a:lnTo>
                  <a:lnTo>
                    <a:pt x="82" y="32"/>
                  </a:lnTo>
                  <a:lnTo>
                    <a:pt x="84" y="38"/>
                  </a:lnTo>
                  <a:lnTo>
                    <a:pt x="86" y="46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0" y="60"/>
                  </a:lnTo>
                  <a:lnTo>
                    <a:pt x="76" y="64"/>
                  </a:lnTo>
                  <a:lnTo>
                    <a:pt x="70" y="66"/>
                  </a:lnTo>
                  <a:lnTo>
                    <a:pt x="62" y="66"/>
                  </a:lnTo>
                  <a:lnTo>
                    <a:pt x="46" y="64"/>
                  </a:lnTo>
                  <a:lnTo>
                    <a:pt x="30" y="56"/>
                  </a:lnTo>
                  <a:lnTo>
                    <a:pt x="14" y="46"/>
                  </a:lnTo>
                  <a:lnTo>
                    <a:pt x="4" y="34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6" y="6"/>
                  </a:lnTo>
                  <a:lnTo>
                    <a:pt x="12" y="2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40" y="2"/>
                  </a:lnTo>
                  <a:lnTo>
                    <a:pt x="56" y="10"/>
                  </a:lnTo>
                  <a:close/>
                </a:path>
              </a:pathLst>
            </a:custGeom>
            <a:solidFill>
              <a:srgbClr val="F7E5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7" name="Freeform 286"/>
            <p:cNvSpPr>
              <a:spLocks/>
            </p:cNvSpPr>
            <p:nvPr/>
          </p:nvSpPr>
          <p:spPr bwMode="auto">
            <a:xfrm>
              <a:off x="4652" y="2883"/>
              <a:ext cx="82" cy="62"/>
            </a:xfrm>
            <a:custGeom>
              <a:avLst/>
              <a:gdLst>
                <a:gd name="T0" fmla="*/ 54 w 82"/>
                <a:gd name="T1" fmla="*/ 8 h 62"/>
                <a:gd name="T2" fmla="*/ 54 w 82"/>
                <a:gd name="T3" fmla="*/ 8 h 62"/>
                <a:gd name="T4" fmla="*/ 68 w 82"/>
                <a:gd name="T5" fmla="*/ 18 h 62"/>
                <a:gd name="T6" fmla="*/ 78 w 82"/>
                <a:gd name="T7" fmla="*/ 30 h 62"/>
                <a:gd name="T8" fmla="*/ 80 w 82"/>
                <a:gd name="T9" fmla="*/ 36 h 62"/>
                <a:gd name="T10" fmla="*/ 82 w 82"/>
                <a:gd name="T11" fmla="*/ 42 h 62"/>
                <a:gd name="T12" fmla="*/ 82 w 82"/>
                <a:gd name="T13" fmla="*/ 48 h 62"/>
                <a:gd name="T14" fmla="*/ 80 w 82"/>
                <a:gd name="T15" fmla="*/ 54 h 62"/>
                <a:gd name="T16" fmla="*/ 80 w 82"/>
                <a:gd name="T17" fmla="*/ 54 h 62"/>
                <a:gd name="T18" fmla="*/ 76 w 82"/>
                <a:gd name="T19" fmla="*/ 58 h 62"/>
                <a:gd name="T20" fmla="*/ 72 w 82"/>
                <a:gd name="T21" fmla="*/ 60 h 62"/>
                <a:gd name="T22" fmla="*/ 66 w 82"/>
                <a:gd name="T23" fmla="*/ 62 h 62"/>
                <a:gd name="T24" fmla="*/ 60 w 82"/>
                <a:gd name="T25" fmla="*/ 62 h 62"/>
                <a:gd name="T26" fmla="*/ 44 w 82"/>
                <a:gd name="T27" fmla="*/ 60 h 62"/>
                <a:gd name="T28" fmla="*/ 28 w 82"/>
                <a:gd name="T29" fmla="*/ 54 h 62"/>
                <a:gd name="T30" fmla="*/ 28 w 82"/>
                <a:gd name="T31" fmla="*/ 54 h 62"/>
                <a:gd name="T32" fmla="*/ 14 w 82"/>
                <a:gd name="T33" fmla="*/ 44 h 62"/>
                <a:gd name="T34" fmla="*/ 4 w 82"/>
                <a:gd name="T35" fmla="*/ 32 h 62"/>
                <a:gd name="T36" fmla="*/ 2 w 82"/>
                <a:gd name="T37" fmla="*/ 26 h 62"/>
                <a:gd name="T38" fmla="*/ 0 w 82"/>
                <a:gd name="T39" fmla="*/ 20 h 62"/>
                <a:gd name="T40" fmla="*/ 0 w 82"/>
                <a:gd name="T41" fmla="*/ 14 h 62"/>
                <a:gd name="T42" fmla="*/ 2 w 82"/>
                <a:gd name="T43" fmla="*/ 8 h 62"/>
                <a:gd name="T44" fmla="*/ 2 w 82"/>
                <a:gd name="T45" fmla="*/ 8 h 62"/>
                <a:gd name="T46" fmla="*/ 6 w 82"/>
                <a:gd name="T47" fmla="*/ 4 h 62"/>
                <a:gd name="T48" fmla="*/ 10 w 82"/>
                <a:gd name="T49" fmla="*/ 2 h 62"/>
                <a:gd name="T50" fmla="*/ 16 w 82"/>
                <a:gd name="T51" fmla="*/ 0 h 62"/>
                <a:gd name="T52" fmla="*/ 24 w 82"/>
                <a:gd name="T53" fmla="*/ 0 h 62"/>
                <a:gd name="T54" fmla="*/ 38 w 82"/>
                <a:gd name="T55" fmla="*/ 2 h 62"/>
                <a:gd name="T56" fmla="*/ 54 w 82"/>
                <a:gd name="T57" fmla="*/ 8 h 62"/>
                <a:gd name="T58" fmla="*/ 54 w 82"/>
                <a:gd name="T59" fmla="*/ 8 h 6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2"/>
                <a:gd name="T91" fmla="*/ 0 h 62"/>
                <a:gd name="T92" fmla="*/ 82 w 82"/>
                <a:gd name="T93" fmla="*/ 62 h 6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2" h="62">
                  <a:moveTo>
                    <a:pt x="54" y="8"/>
                  </a:moveTo>
                  <a:lnTo>
                    <a:pt x="54" y="8"/>
                  </a:lnTo>
                  <a:lnTo>
                    <a:pt x="68" y="18"/>
                  </a:lnTo>
                  <a:lnTo>
                    <a:pt x="78" y="30"/>
                  </a:lnTo>
                  <a:lnTo>
                    <a:pt x="80" y="36"/>
                  </a:lnTo>
                  <a:lnTo>
                    <a:pt x="82" y="42"/>
                  </a:lnTo>
                  <a:lnTo>
                    <a:pt x="82" y="48"/>
                  </a:lnTo>
                  <a:lnTo>
                    <a:pt x="80" y="54"/>
                  </a:lnTo>
                  <a:lnTo>
                    <a:pt x="76" y="58"/>
                  </a:lnTo>
                  <a:lnTo>
                    <a:pt x="72" y="60"/>
                  </a:lnTo>
                  <a:lnTo>
                    <a:pt x="66" y="62"/>
                  </a:lnTo>
                  <a:lnTo>
                    <a:pt x="60" y="62"/>
                  </a:lnTo>
                  <a:lnTo>
                    <a:pt x="44" y="60"/>
                  </a:lnTo>
                  <a:lnTo>
                    <a:pt x="28" y="54"/>
                  </a:lnTo>
                  <a:lnTo>
                    <a:pt x="14" y="44"/>
                  </a:lnTo>
                  <a:lnTo>
                    <a:pt x="4" y="32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2" y="8"/>
                  </a:lnTo>
                  <a:lnTo>
                    <a:pt x="6" y="4"/>
                  </a:lnTo>
                  <a:lnTo>
                    <a:pt x="10" y="2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8" y="2"/>
                  </a:lnTo>
                  <a:lnTo>
                    <a:pt x="54" y="8"/>
                  </a:lnTo>
                  <a:close/>
                </a:path>
              </a:pathLst>
            </a:custGeom>
            <a:solidFill>
              <a:srgbClr val="F7E5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Freeform 287"/>
            <p:cNvSpPr>
              <a:spLocks/>
            </p:cNvSpPr>
            <p:nvPr/>
          </p:nvSpPr>
          <p:spPr bwMode="auto">
            <a:xfrm>
              <a:off x="4654" y="2883"/>
              <a:ext cx="78" cy="62"/>
            </a:xfrm>
            <a:custGeom>
              <a:avLst/>
              <a:gdLst>
                <a:gd name="T0" fmla="*/ 52 w 78"/>
                <a:gd name="T1" fmla="*/ 10 h 62"/>
                <a:gd name="T2" fmla="*/ 52 w 78"/>
                <a:gd name="T3" fmla="*/ 10 h 62"/>
                <a:gd name="T4" fmla="*/ 66 w 78"/>
                <a:gd name="T5" fmla="*/ 20 h 62"/>
                <a:gd name="T6" fmla="*/ 74 w 78"/>
                <a:gd name="T7" fmla="*/ 30 h 62"/>
                <a:gd name="T8" fmla="*/ 78 w 78"/>
                <a:gd name="T9" fmla="*/ 36 h 62"/>
                <a:gd name="T10" fmla="*/ 78 w 78"/>
                <a:gd name="T11" fmla="*/ 42 h 62"/>
                <a:gd name="T12" fmla="*/ 78 w 78"/>
                <a:gd name="T13" fmla="*/ 48 h 62"/>
                <a:gd name="T14" fmla="*/ 76 w 78"/>
                <a:gd name="T15" fmla="*/ 52 h 62"/>
                <a:gd name="T16" fmla="*/ 76 w 78"/>
                <a:gd name="T17" fmla="*/ 52 h 62"/>
                <a:gd name="T18" fmla="*/ 74 w 78"/>
                <a:gd name="T19" fmla="*/ 56 h 62"/>
                <a:gd name="T20" fmla="*/ 68 w 78"/>
                <a:gd name="T21" fmla="*/ 60 h 62"/>
                <a:gd name="T22" fmla="*/ 64 w 78"/>
                <a:gd name="T23" fmla="*/ 60 h 62"/>
                <a:gd name="T24" fmla="*/ 58 w 78"/>
                <a:gd name="T25" fmla="*/ 62 h 62"/>
                <a:gd name="T26" fmla="*/ 42 w 78"/>
                <a:gd name="T27" fmla="*/ 60 h 62"/>
                <a:gd name="T28" fmla="*/ 28 w 78"/>
                <a:gd name="T29" fmla="*/ 52 h 62"/>
                <a:gd name="T30" fmla="*/ 28 w 78"/>
                <a:gd name="T31" fmla="*/ 52 h 62"/>
                <a:gd name="T32" fmla="*/ 14 w 78"/>
                <a:gd name="T33" fmla="*/ 42 h 62"/>
                <a:gd name="T34" fmla="*/ 4 w 78"/>
                <a:gd name="T35" fmla="*/ 32 h 62"/>
                <a:gd name="T36" fmla="*/ 2 w 78"/>
                <a:gd name="T37" fmla="*/ 26 h 62"/>
                <a:gd name="T38" fmla="*/ 0 w 78"/>
                <a:gd name="T39" fmla="*/ 20 h 62"/>
                <a:gd name="T40" fmla="*/ 0 w 78"/>
                <a:gd name="T41" fmla="*/ 14 h 62"/>
                <a:gd name="T42" fmla="*/ 2 w 78"/>
                <a:gd name="T43" fmla="*/ 10 h 62"/>
                <a:gd name="T44" fmla="*/ 2 w 78"/>
                <a:gd name="T45" fmla="*/ 10 h 62"/>
                <a:gd name="T46" fmla="*/ 6 w 78"/>
                <a:gd name="T47" fmla="*/ 6 h 62"/>
                <a:gd name="T48" fmla="*/ 10 w 78"/>
                <a:gd name="T49" fmla="*/ 4 h 62"/>
                <a:gd name="T50" fmla="*/ 16 w 78"/>
                <a:gd name="T51" fmla="*/ 2 h 62"/>
                <a:gd name="T52" fmla="*/ 22 w 78"/>
                <a:gd name="T53" fmla="*/ 0 h 62"/>
                <a:gd name="T54" fmla="*/ 36 w 78"/>
                <a:gd name="T55" fmla="*/ 2 h 62"/>
                <a:gd name="T56" fmla="*/ 52 w 78"/>
                <a:gd name="T57" fmla="*/ 10 h 62"/>
                <a:gd name="T58" fmla="*/ 52 w 78"/>
                <a:gd name="T59" fmla="*/ 10 h 6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8"/>
                <a:gd name="T91" fmla="*/ 0 h 62"/>
                <a:gd name="T92" fmla="*/ 78 w 78"/>
                <a:gd name="T93" fmla="*/ 62 h 6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8" h="62">
                  <a:moveTo>
                    <a:pt x="52" y="10"/>
                  </a:moveTo>
                  <a:lnTo>
                    <a:pt x="52" y="10"/>
                  </a:lnTo>
                  <a:lnTo>
                    <a:pt x="66" y="20"/>
                  </a:lnTo>
                  <a:lnTo>
                    <a:pt x="74" y="30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6" y="52"/>
                  </a:lnTo>
                  <a:lnTo>
                    <a:pt x="74" y="56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58" y="62"/>
                  </a:lnTo>
                  <a:lnTo>
                    <a:pt x="42" y="60"/>
                  </a:lnTo>
                  <a:lnTo>
                    <a:pt x="28" y="52"/>
                  </a:lnTo>
                  <a:lnTo>
                    <a:pt x="14" y="42"/>
                  </a:lnTo>
                  <a:lnTo>
                    <a:pt x="4" y="32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36" y="2"/>
                  </a:lnTo>
                  <a:lnTo>
                    <a:pt x="52" y="10"/>
                  </a:lnTo>
                  <a:close/>
                </a:path>
              </a:pathLst>
            </a:custGeom>
            <a:solidFill>
              <a:srgbClr val="F7E3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Freeform 288"/>
            <p:cNvSpPr>
              <a:spLocks/>
            </p:cNvSpPr>
            <p:nvPr/>
          </p:nvSpPr>
          <p:spPr bwMode="auto">
            <a:xfrm>
              <a:off x="4656" y="2885"/>
              <a:ext cx="76" cy="58"/>
            </a:xfrm>
            <a:custGeom>
              <a:avLst/>
              <a:gdLst>
                <a:gd name="T0" fmla="*/ 50 w 76"/>
                <a:gd name="T1" fmla="*/ 8 h 58"/>
                <a:gd name="T2" fmla="*/ 50 w 76"/>
                <a:gd name="T3" fmla="*/ 8 h 58"/>
                <a:gd name="T4" fmla="*/ 62 w 76"/>
                <a:gd name="T5" fmla="*/ 18 h 58"/>
                <a:gd name="T6" fmla="*/ 72 w 76"/>
                <a:gd name="T7" fmla="*/ 28 h 58"/>
                <a:gd name="T8" fmla="*/ 76 w 76"/>
                <a:gd name="T9" fmla="*/ 40 h 58"/>
                <a:gd name="T10" fmla="*/ 74 w 76"/>
                <a:gd name="T11" fmla="*/ 44 h 58"/>
                <a:gd name="T12" fmla="*/ 74 w 76"/>
                <a:gd name="T13" fmla="*/ 50 h 58"/>
                <a:gd name="T14" fmla="*/ 74 w 76"/>
                <a:gd name="T15" fmla="*/ 50 h 58"/>
                <a:gd name="T16" fmla="*/ 70 w 76"/>
                <a:gd name="T17" fmla="*/ 54 h 58"/>
                <a:gd name="T18" fmla="*/ 66 w 76"/>
                <a:gd name="T19" fmla="*/ 56 h 58"/>
                <a:gd name="T20" fmla="*/ 60 w 76"/>
                <a:gd name="T21" fmla="*/ 58 h 58"/>
                <a:gd name="T22" fmla="*/ 54 w 76"/>
                <a:gd name="T23" fmla="*/ 58 h 58"/>
                <a:gd name="T24" fmla="*/ 40 w 76"/>
                <a:gd name="T25" fmla="*/ 56 h 58"/>
                <a:gd name="T26" fmla="*/ 26 w 76"/>
                <a:gd name="T27" fmla="*/ 50 h 58"/>
                <a:gd name="T28" fmla="*/ 26 w 76"/>
                <a:gd name="T29" fmla="*/ 50 h 58"/>
                <a:gd name="T30" fmla="*/ 14 w 76"/>
                <a:gd name="T31" fmla="*/ 40 h 58"/>
                <a:gd name="T32" fmla="*/ 4 w 76"/>
                <a:gd name="T33" fmla="*/ 30 h 58"/>
                <a:gd name="T34" fmla="*/ 0 w 76"/>
                <a:gd name="T35" fmla="*/ 18 h 58"/>
                <a:gd name="T36" fmla="*/ 0 w 76"/>
                <a:gd name="T37" fmla="*/ 14 h 58"/>
                <a:gd name="T38" fmla="*/ 2 w 76"/>
                <a:gd name="T39" fmla="*/ 8 h 58"/>
                <a:gd name="T40" fmla="*/ 2 w 76"/>
                <a:gd name="T41" fmla="*/ 8 h 58"/>
                <a:gd name="T42" fmla="*/ 6 w 76"/>
                <a:gd name="T43" fmla="*/ 6 h 58"/>
                <a:gd name="T44" fmla="*/ 10 w 76"/>
                <a:gd name="T45" fmla="*/ 2 h 58"/>
                <a:gd name="T46" fmla="*/ 16 w 76"/>
                <a:gd name="T47" fmla="*/ 0 h 58"/>
                <a:gd name="T48" fmla="*/ 22 w 76"/>
                <a:gd name="T49" fmla="*/ 0 h 58"/>
                <a:gd name="T50" fmla="*/ 36 w 76"/>
                <a:gd name="T51" fmla="*/ 2 h 58"/>
                <a:gd name="T52" fmla="*/ 50 w 76"/>
                <a:gd name="T53" fmla="*/ 8 h 58"/>
                <a:gd name="T54" fmla="*/ 50 w 76"/>
                <a:gd name="T55" fmla="*/ 8 h 5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76"/>
                <a:gd name="T85" fmla="*/ 0 h 58"/>
                <a:gd name="T86" fmla="*/ 76 w 76"/>
                <a:gd name="T87" fmla="*/ 58 h 5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76" h="58">
                  <a:moveTo>
                    <a:pt x="50" y="8"/>
                  </a:moveTo>
                  <a:lnTo>
                    <a:pt x="50" y="8"/>
                  </a:lnTo>
                  <a:lnTo>
                    <a:pt x="62" y="18"/>
                  </a:lnTo>
                  <a:lnTo>
                    <a:pt x="72" y="28"/>
                  </a:lnTo>
                  <a:lnTo>
                    <a:pt x="76" y="40"/>
                  </a:lnTo>
                  <a:lnTo>
                    <a:pt x="74" y="44"/>
                  </a:lnTo>
                  <a:lnTo>
                    <a:pt x="74" y="50"/>
                  </a:lnTo>
                  <a:lnTo>
                    <a:pt x="70" y="54"/>
                  </a:lnTo>
                  <a:lnTo>
                    <a:pt x="66" y="56"/>
                  </a:lnTo>
                  <a:lnTo>
                    <a:pt x="60" y="58"/>
                  </a:lnTo>
                  <a:lnTo>
                    <a:pt x="54" y="58"/>
                  </a:lnTo>
                  <a:lnTo>
                    <a:pt x="40" y="56"/>
                  </a:lnTo>
                  <a:lnTo>
                    <a:pt x="26" y="50"/>
                  </a:lnTo>
                  <a:lnTo>
                    <a:pt x="14" y="40"/>
                  </a:lnTo>
                  <a:lnTo>
                    <a:pt x="4" y="30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2" y="8"/>
                  </a:lnTo>
                  <a:lnTo>
                    <a:pt x="6" y="6"/>
                  </a:lnTo>
                  <a:lnTo>
                    <a:pt x="10" y="2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36" y="2"/>
                  </a:lnTo>
                  <a:lnTo>
                    <a:pt x="50" y="8"/>
                  </a:lnTo>
                  <a:close/>
                </a:path>
              </a:pathLst>
            </a:custGeom>
            <a:solidFill>
              <a:srgbClr val="F7E1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289"/>
            <p:cNvSpPr>
              <a:spLocks/>
            </p:cNvSpPr>
            <p:nvPr/>
          </p:nvSpPr>
          <p:spPr bwMode="auto">
            <a:xfrm>
              <a:off x="4658" y="2887"/>
              <a:ext cx="72" cy="54"/>
            </a:xfrm>
            <a:custGeom>
              <a:avLst/>
              <a:gdLst>
                <a:gd name="T0" fmla="*/ 48 w 72"/>
                <a:gd name="T1" fmla="*/ 8 h 54"/>
                <a:gd name="T2" fmla="*/ 48 w 72"/>
                <a:gd name="T3" fmla="*/ 8 h 54"/>
                <a:gd name="T4" fmla="*/ 60 w 72"/>
                <a:gd name="T5" fmla="*/ 16 h 54"/>
                <a:gd name="T6" fmla="*/ 68 w 72"/>
                <a:gd name="T7" fmla="*/ 26 h 54"/>
                <a:gd name="T8" fmla="*/ 72 w 72"/>
                <a:gd name="T9" fmla="*/ 38 h 54"/>
                <a:gd name="T10" fmla="*/ 72 w 72"/>
                <a:gd name="T11" fmla="*/ 42 h 54"/>
                <a:gd name="T12" fmla="*/ 70 w 72"/>
                <a:gd name="T13" fmla="*/ 46 h 54"/>
                <a:gd name="T14" fmla="*/ 70 w 72"/>
                <a:gd name="T15" fmla="*/ 46 h 54"/>
                <a:gd name="T16" fmla="*/ 66 w 72"/>
                <a:gd name="T17" fmla="*/ 50 h 54"/>
                <a:gd name="T18" fmla="*/ 62 w 72"/>
                <a:gd name="T19" fmla="*/ 52 h 54"/>
                <a:gd name="T20" fmla="*/ 52 w 72"/>
                <a:gd name="T21" fmla="*/ 54 h 54"/>
                <a:gd name="T22" fmla="*/ 38 w 72"/>
                <a:gd name="T23" fmla="*/ 52 h 54"/>
                <a:gd name="T24" fmla="*/ 24 w 72"/>
                <a:gd name="T25" fmla="*/ 46 h 54"/>
                <a:gd name="T26" fmla="*/ 24 w 72"/>
                <a:gd name="T27" fmla="*/ 46 h 54"/>
                <a:gd name="T28" fmla="*/ 12 w 72"/>
                <a:gd name="T29" fmla="*/ 38 h 54"/>
                <a:gd name="T30" fmla="*/ 4 w 72"/>
                <a:gd name="T31" fmla="*/ 28 h 54"/>
                <a:gd name="T32" fmla="*/ 0 w 72"/>
                <a:gd name="T33" fmla="*/ 18 h 54"/>
                <a:gd name="T34" fmla="*/ 2 w 72"/>
                <a:gd name="T35" fmla="*/ 12 h 54"/>
                <a:gd name="T36" fmla="*/ 2 w 72"/>
                <a:gd name="T37" fmla="*/ 8 h 54"/>
                <a:gd name="T38" fmla="*/ 2 w 72"/>
                <a:gd name="T39" fmla="*/ 8 h 54"/>
                <a:gd name="T40" fmla="*/ 6 w 72"/>
                <a:gd name="T41" fmla="*/ 4 h 54"/>
                <a:gd name="T42" fmla="*/ 10 w 72"/>
                <a:gd name="T43" fmla="*/ 2 h 54"/>
                <a:gd name="T44" fmla="*/ 20 w 72"/>
                <a:gd name="T45" fmla="*/ 0 h 54"/>
                <a:gd name="T46" fmla="*/ 34 w 72"/>
                <a:gd name="T47" fmla="*/ 2 h 54"/>
                <a:gd name="T48" fmla="*/ 48 w 72"/>
                <a:gd name="T49" fmla="*/ 8 h 54"/>
                <a:gd name="T50" fmla="*/ 48 w 72"/>
                <a:gd name="T51" fmla="*/ 8 h 5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2"/>
                <a:gd name="T79" fmla="*/ 0 h 54"/>
                <a:gd name="T80" fmla="*/ 72 w 72"/>
                <a:gd name="T81" fmla="*/ 54 h 5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2" h="54">
                  <a:moveTo>
                    <a:pt x="48" y="8"/>
                  </a:moveTo>
                  <a:lnTo>
                    <a:pt x="48" y="8"/>
                  </a:lnTo>
                  <a:lnTo>
                    <a:pt x="60" y="16"/>
                  </a:lnTo>
                  <a:lnTo>
                    <a:pt x="68" y="26"/>
                  </a:lnTo>
                  <a:lnTo>
                    <a:pt x="72" y="38"/>
                  </a:lnTo>
                  <a:lnTo>
                    <a:pt x="72" y="42"/>
                  </a:lnTo>
                  <a:lnTo>
                    <a:pt x="70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2" y="54"/>
                  </a:lnTo>
                  <a:lnTo>
                    <a:pt x="38" y="52"/>
                  </a:lnTo>
                  <a:lnTo>
                    <a:pt x="24" y="46"/>
                  </a:lnTo>
                  <a:lnTo>
                    <a:pt x="12" y="38"/>
                  </a:lnTo>
                  <a:lnTo>
                    <a:pt x="4" y="28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2" y="8"/>
                  </a:lnTo>
                  <a:lnTo>
                    <a:pt x="6" y="4"/>
                  </a:lnTo>
                  <a:lnTo>
                    <a:pt x="10" y="2"/>
                  </a:lnTo>
                  <a:lnTo>
                    <a:pt x="20" y="0"/>
                  </a:lnTo>
                  <a:lnTo>
                    <a:pt x="34" y="2"/>
                  </a:lnTo>
                  <a:lnTo>
                    <a:pt x="48" y="8"/>
                  </a:lnTo>
                  <a:close/>
                </a:path>
              </a:pathLst>
            </a:custGeom>
            <a:solidFill>
              <a:srgbClr val="F7E1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290"/>
            <p:cNvSpPr>
              <a:spLocks/>
            </p:cNvSpPr>
            <p:nvPr/>
          </p:nvSpPr>
          <p:spPr bwMode="auto">
            <a:xfrm>
              <a:off x="4660" y="2889"/>
              <a:ext cx="68" cy="52"/>
            </a:xfrm>
            <a:custGeom>
              <a:avLst/>
              <a:gdLst>
                <a:gd name="T0" fmla="*/ 46 w 68"/>
                <a:gd name="T1" fmla="*/ 6 h 52"/>
                <a:gd name="T2" fmla="*/ 46 w 68"/>
                <a:gd name="T3" fmla="*/ 6 h 52"/>
                <a:gd name="T4" fmla="*/ 56 w 68"/>
                <a:gd name="T5" fmla="*/ 16 h 52"/>
                <a:gd name="T6" fmla="*/ 64 w 68"/>
                <a:gd name="T7" fmla="*/ 26 h 52"/>
                <a:gd name="T8" fmla="*/ 68 w 68"/>
                <a:gd name="T9" fmla="*/ 34 h 52"/>
                <a:gd name="T10" fmla="*/ 68 w 68"/>
                <a:gd name="T11" fmla="*/ 40 h 52"/>
                <a:gd name="T12" fmla="*/ 66 w 68"/>
                <a:gd name="T13" fmla="*/ 44 h 52"/>
                <a:gd name="T14" fmla="*/ 66 w 68"/>
                <a:gd name="T15" fmla="*/ 44 h 52"/>
                <a:gd name="T16" fmla="*/ 64 w 68"/>
                <a:gd name="T17" fmla="*/ 46 h 52"/>
                <a:gd name="T18" fmla="*/ 60 w 68"/>
                <a:gd name="T19" fmla="*/ 50 h 52"/>
                <a:gd name="T20" fmla="*/ 50 w 68"/>
                <a:gd name="T21" fmla="*/ 52 h 52"/>
                <a:gd name="T22" fmla="*/ 36 w 68"/>
                <a:gd name="T23" fmla="*/ 50 h 52"/>
                <a:gd name="T24" fmla="*/ 24 w 68"/>
                <a:gd name="T25" fmla="*/ 44 h 52"/>
                <a:gd name="T26" fmla="*/ 24 w 68"/>
                <a:gd name="T27" fmla="*/ 44 h 52"/>
                <a:gd name="T28" fmla="*/ 12 w 68"/>
                <a:gd name="T29" fmla="*/ 36 h 52"/>
                <a:gd name="T30" fmla="*/ 4 w 68"/>
                <a:gd name="T31" fmla="*/ 26 h 52"/>
                <a:gd name="T32" fmla="*/ 0 w 68"/>
                <a:gd name="T33" fmla="*/ 16 h 52"/>
                <a:gd name="T34" fmla="*/ 2 w 68"/>
                <a:gd name="T35" fmla="*/ 12 h 52"/>
                <a:gd name="T36" fmla="*/ 2 w 68"/>
                <a:gd name="T37" fmla="*/ 8 h 52"/>
                <a:gd name="T38" fmla="*/ 2 w 68"/>
                <a:gd name="T39" fmla="*/ 8 h 52"/>
                <a:gd name="T40" fmla="*/ 6 w 68"/>
                <a:gd name="T41" fmla="*/ 4 h 52"/>
                <a:gd name="T42" fmla="*/ 10 w 68"/>
                <a:gd name="T43" fmla="*/ 2 h 52"/>
                <a:gd name="T44" fmla="*/ 20 w 68"/>
                <a:gd name="T45" fmla="*/ 0 h 52"/>
                <a:gd name="T46" fmla="*/ 32 w 68"/>
                <a:gd name="T47" fmla="*/ 2 h 52"/>
                <a:gd name="T48" fmla="*/ 46 w 68"/>
                <a:gd name="T49" fmla="*/ 6 h 52"/>
                <a:gd name="T50" fmla="*/ 46 w 68"/>
                <a:gd name="T51" fmla="*/ 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8"/>
                <a:gd name="T79" fmla="*/ 0 h 52"/>
                <a:gd name="T80" fmla="*/ 68 w 68"/>
                <a:gd name="T81" fmla="*/ 52 h 5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8" h="52">
                  <a:moveTo>
                    <a:pt x="46" y="6"/>
                  </a:moveTo>
                  <a:lnTo>
                    <a:pt x="46" y="6"/>
                  </a:lnTo>
                  <a:lnTo>
                    <a:pt x="56" y="16"/>
                  </a:lnTo>
                  <a:lnTo>
                    <a:pt x="64" y="26"/>
                  </a:lnTo>
                  <a:lnTo>
                    <a:pt x="68" y="34"/>
                  </a:lnTo>
                  <a:lnTo>
                    <a:pt x="68" y="40"/>
                  </a:lnTo>
                  <a:lnTo>
                    <a:pt x="66" y="44"/>
                  </a:lnTo>
                  <a:lnTo>
                    <a:pt x="64" y="46"/>
                  </a:lnTo>
                  <a:lnTo>
                    <a:pt x="60" y="50"/>
                  </a:lnTo>
                  <a:lnTo>
                    <a:pt x="50" y="52"/>
                  </a:lnTo>
                  <a:lnTo>
                    <a:pt x="36" y="50"/>
                  </a:lnTo>
                  <a:lnTo>
                    <a:pt x="24" y="44"/>
                  </a:lnTo>
                  <a:lnTo>
                    <a:pt x="12" y="36"/>
                  </a:lnTo>
                  <a:lnTo>
                    <a:pt x="4" y="26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2" y="8"/>
                  </a:lnTo>
                  <a:lnTo>
                    <a:pt x="6" y="4"/>
                  </a:lnTo>
                  <a:lnTo>
                    <a:pt x="10" y="2"/>
                  </a:lnTo>
                  <a:lnTo>
                    <a:pt x="20" y="0"/>
                  </a:lnTo>
                  <a:lnTo>
                    <a:pt x="32" y="2"/>
                  </a:lnTo>
                  <a:lnTo>
                    <a:pt x="46" y="6"/>
                  </a:lnTo>
                  <a:close/>
                </a:path>
              </a:pathLst>
            </a:custGeom>
            <a:solidFill>
              <a:srgbClr val="F7DF1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291"/>
            <p:cNvSpPr>
              <a:spLocks/>
            </p:cNvSpPr>
            <p:nvPr/>
          </p:nvSpPr>
          <p:spPr bwMode="auto">
            <a:xfrm>
              <a:off x="4664" y="2889"/>
              <a:ext cx="62" cy="50"/>
            </a:xfrm>
            <a:custGeom>
              <a:avLst/>
              <a:gdLst>
                <a:gd name="T0" fmla="*/ 40 w 62"/>
                <a:gd name="T1" fmla="*/ 8 h 50"/>
                <a:gd name="T2" fmla="*/ 40 w 62"/>
                <a:gd name="T3" fmla="*/ 8 h 50"/>
                <a:gd name="T4" fmla="*/ 52 w 62"/>
                <a:gd name="T5" fmla="*/ 16 h 50"/>
                <a:gd name="T6" fmla="*/ 58 w 62"/>
                <a:gd name="T7" fmla="*/ 26 h 50"/>
                <a:gd name="T8" fmla="*/ 62 w 62"/>
                <a:gd name="T9" fmla="*/ 34 h 50"/>
                <a:gd name="T10" fmla="*/ 62 w 62"/>
                <a:gd name="T11" fmla="*/ 38 h 50"/>
                <a:gd name="T12" fmla="*/ 60 w 62"/>
                <a:gd name="T13" fmla="*/ 42 h 50"/>
                <a:gd name="T14" fmla="*/ 60 w 62"/>
                <a:gd name="T15" fmla="*/ 42 h 50"/>
                <a:gd name="T16" fmla="*/ 58 w 62"/>
                <a:gd name="T17" fmla="*/ 46 h 50"/>
                <a:gd name="T18" fmla="*/ 54 w 62"/>
                <a:gd name="T19" fmla="*/ 48 h 50"/>
                <a:gd name="T20" fmla="*/ 44 w 62"/>
                <a:gd name="T21" fmla="*/ 50 h 50"/>
                <a:gd name="T22" fmla="*/ 34 w 62"/>
                <a:gd name="T23" fmla="*/ 48 h 50"/>
                <a:gd name="T24" fmla="*/ 20 w 62"/>
                <a:gd name="T25" fmla="*/ 42 h 50"/>
                <a:gd name="T26" fmla="*/ 20 w 62"/>
                <a:gd name="T27" fmla="*/ 42 h 50"/>
                <a:gd name="T28" fmla="*/ 10 w 62"/>
                <a:gd name="T29" fmla="*/ 34 h 50"/>
                <a:gd name="T30" fmla="*/ 2 w 62"/>
                <a:gd name="T31" fmla="*/ 26 h 50"/>
                <a:gd name="T32" fmla="*/ 0 w 62"/>
                <a:gd name="T33" fmla="*/ 16 h 50"/>
                <a:gd name="T34" fmla="*/ 0 w 62"/>
                <a:gd name="T35" fmla="*/ 12 h 50"/>
                <a:gd name="T36" fmla="*/ 0 w 62"/>
                <a:gd name="T37" fmla="*/ 8 h 50"/>
                <a:gd name="T38" fmla="*/ 0 w 62"/>
                <a:gd name="T39" fmla="*/ 8 h 50"/>
                <a:gd name="T40" fmla="*/ 4 w 62"/>
                <a:gd name="T41" fmla="*/ 4 h 50"/>
                <a:gd name="T42" fmla="*/ 6 w 62"/>
                <a:gd name="T43" fmla="*/ 2 h 50"/>
                <a:gd name="T44" fmla="*/ 16 w 62"/>
                <a:gd name="T45" fmla="*/ 0 h 50"/>
                <a:gd name="T46" fmla="*/ 28 w 62"/>
                <a:gd name="T47" fmla="*/ 2 h 50"/>
                <a:gd name="T48" fmla="*/ 40 w 62"/>
                <a:gd name="T49" fmla="*/ 8 h 50"/>
                <a:gd name="T50" fmla="*/ 40 w 62"/>
                <a:gd name="T51" fmla="*/ 8 h 5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2"/>
                <a:gd name="T79" fmla="*/ 0 h 50"/>
                <a:gd name="T80" fmla="*/ 62 w 62"/>
                <a:gd name="T81" fmla="*/ 50 h 5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2" h="50">
                  <a:moveTo>
                    <a:pt x="40" y="8"/>
                  </a:moveTo>
                  <a:lnTo>
                    <a:pt x="40" y="8"/>
                  </a:lnTo>
                  <a:lnTo>
                    <a:pt x="52" y="16"/>
                  </a:lnTo>
                  <a:lnTo>
                    <a:pt x="58" y="26"/>
                  </a:lnTo>
                  <a:lnTo>
                    <a:pt x="62" y="34"/>
                  </a:lnTo>
                  <a:lnTo>
                    <a:pt x="62" y="38"/>
                  </a:lnTo>
                  <a:lnTo>
                    <a:pt x="60" y="42"/>
                  </a:lnTo>
                  <a:lnTo>
                    <a:pt x="58" y="46"/>
                  </a:lnTo>
                  <a:lnTo>
                    <a:pt x="54" y="48"/>
                  </a:lnTo>
                  <a:lnTo>
                    <a:pt x="44" y="50"/>
                  </a:lnTo>
                  <a:lnTo>
                    <a:pt x="34" y="48"/>
                  </a:lnTo>
                  <a:lnTo>
                    <a:pt x="20" y="42"/>
                  </a:lnTo>
                  <a:lnTo>
                    <a:pt x="10" y="34"/>
                  </a:lnTo>
                  <a:lnTo>
                    <a:pt x="2" y="2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6" y="2"/>
                  </a:lnTo>
                  <a:lnTo>
                    <a:pt x="16" y="0"/>
                  </a:lnTo>
                  <a:lnTo>
                    <a:pt x="28" y="2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rgbClr val="F7DF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Freeform 292"/>
            <p:cNvSpPr>
              <a:spLocks/>
            </p:cNvSpPr>
            <p:nvPr/>
          </p:nvSpPr>
          <p:spPr bwMode="auto">
            <a:xfrm>
              <a:off x="4666" y="2891"/>
              <a:ext cx="58" cy="46"/>
            </a:xfrm>
            <a:custGeom>
              <a:avLst/>
              <a:gdLst>
                <a:gd name="T0" fmla="*/ 38 w 58"/>
                <a:gd name="T1" fmla="*/ 6 h 46"/>
                <a:gd name="T2" fmla="*/ 38 w 58"/>
                <a:gd name="T3" fmla="*/ 6 h 46"/>
                <a:gd name="T4" fmla="*/ 48 w 58"/>
                <a:gd name="T5" fmla="*/ 14 h 46"/>
                <a:gd name="T6" fmla="*/ 56 w 58"/>
                <a:gd name="T7" fmla="*/ 24 h 46"/>
                <a:gd name="T8" fmla="*/ 58 w 58"/>
                <a:gd name="T9" fmla="*/ 32 h 46"/>
                <a:gd name="T10" fmla="*/ 58 w 58"/>
                <a:gd name="T11" fmla="*/ 36 h 46"/>
                <a:gd name="T12" fmla="*/ 58 w 58"/>
                <a:gd name="T13" fmla="*/ 40 h 46"/>
                <a:gd name="T14" fmla="*/ 58 w 58"/>
                <a:gd name="T15" fmla="*/ 40 h 46"/>
                <a:gd name="T16" fmla="*/ 54 w 58"/>
                <a:gd name="T17" fmla="*/ 42 h 46"/>
                <a:gd name="T18" fmla="*/ 52 w 58"/>
                <a:gd name="T19" fmla="*/ 44 h 46"/>
                <a:gd name="T20" fmla="*/ 42 w 58"/>
                <a:gd name="T21" fmla="*/ 46 h 46"/>
                <a:gd name="T22" fmla="*/ 32 w 58"/>
                <a:gd name="T23" fmla="*/ 46 h 46"/>
                <a:gd name="T24" fmla="*/ 20 w 58"/>
                <a:gd name="T25" fmla="*/ 40 h 46"/>
                <a:gd name="T26" fmla="*/ 20 w 58"/>
                <a:gd name="T27" fmla="*/ 40 h 46"/>
                <a:gd name="T28" fmla="*/ 10 w 58"/>
                <a:gd name="T29" fmla="*/ 32 h 46"/>
                <a:gd name="T30" fmla="*/ 2 w 58"/>
                <a:gd name="T31" fmla="*/ 24 h 46"/>
                <a:gd name="T32" fmla="*/ 0 w 58"/>
                <a:gd name="T33" fmla="*/ 14 h 46"/>
                <a:gd name="T34" fmla="*/ 0 w 58"/>
                <a:gd name="T35" fmla="*/ 10 h 46"/>
                <a:gd name="T36" fmla="*/ 0 w 58"/>
                <a:gd name="T37" fmla="*/ 8 h 46"/>
                <a:gd name="T38" fmla="*/ 0 w 58"/>
                <a:gd name="T39" fmla="*/ 8 h 46"/>
                <a:gd name="T40" fmla="*/ 4 w 58"/>
                <a:gd name="T41" fmla="*/ 4 h 46"/>
                <a:gd name="T42" fmla="*/ 6 w 58"/>
                <a:gd name="T43" fmla="*/ 2 h 46"/>
                <a:gd name="T44" fmla="*/ 16 w 58"/>
                <a:gd name="T45" fmla="*/ 0 h 46"/>
                <a:gd name="T46" fmla="*/ 26 w 58"/>
                <a:gd name="T47" fmla="*/ 2 h 46"/>
                <a:gd name="T48" fmla="*/ 38 w 58"/>
                <a:gd name="T49" fmla="*/ 6 h 46"/>
                <a:gd name="T50" fmla="*/ 38 w 58"/>
                <a:gd name="T51" fmla="*/ 6 h 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8"/>
                <a:gd name="T79" fmla="*/ 0 h 46"/>
                <a:gd name="T80" fmla="*/ 58 w 58"/>
                <a:gd name="T81" fmla="*/ 46 h 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8" h="46">
                  <a:moveTo>
                    <a:pt x="38" y="6"/>
                  </a:moveTo>
                  <a:lnTo>
                    <a:pt x="38" y="6"/>
                  </a:lnTo>
                  <a:lnTo>
                    <a:pt x="48" y="14"/>
                  </a:lnTo>
                  <a:lnTo>
                    <a:pt x="56" y="24"/>
                  </a:lnTo>
                  <a:lnTo>
                    <a:pt x="58" y="32"/>
                  </a:lnTo>
                  <a:lnTo>
                    <a:pt x="58" y="36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2" y="44"/>
                  </a:lnTo>
                  <a:lnTo>
                    <a:pt x="42" y="46"/>
                  </a:lnTo>
                  <a:lnTo>
                    <a:pt x="32" y="46"/>
                  </a:lnTo>
                  <a:lnTo>
                    <a:pt x="20" y="40"/>
                  </a:lnTo>
                  <a:lnTo>
                    <a:pt x="10" y="32"/>
                  </a:lnTo>
                  <a:lnTo>
                    <a:pt x="2" y="2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4" y="4"/>
                  </a:lnTo>
                  <a:lnTo>
                    <a:pt x="6" y="2"/>
                  </a:lnTo>
                  <a:lnTo>
                    <a:pt x="16" y="0"/>
                  </a:lnTo>
                  <a:lnTo>
                    <a:pt x="26" y="2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rgbClr val="F7DC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4" name="Freeform 293"/>
            <p:cNvSpPr>
              <a:spLocks/>
            </p:cNvSpPr>
            <p:nvPr/>
          </p:nvSpPr>
          <p:spPr bwMode="auto">
            <a:xfrm>
              <a:off x="4668" y="2893"/>
              <a:ext cx="54" cy="44"/>
            </a:xfrm>
            <a:custGeom>
              <a:avLst/>
              <a:gdLst>
                <a:gd name="T0" fmla="*/ 36 w 54"/>
                <a:gd name="T1" fmla="*/ 6 h 44"/>
                <a:gd name="T2" fmla="*/ 36 w 54"/>
                <a:gd name="T3" fmla="*/ 6 h 44"/>
                <a:gd name="T4" fmla="*/ 46 w 54"/>
                <a:gd name="T5" fmla="*/ 14 h 44"/>
                <a:gd name="T6" fmla="*/ 52 w 54"/>
                <a:gd name="T7" fmla="*/ 22 h 44"/>
                <a:gd name="T8" fmla="*/ 54 w 54"/>
                <a:gd name="T9" fmla="*/ 30 h 44"/>
                <a:gd name="T10" fmla="*/ 54 w 54"/>
                <a:gd name="T11" fmla="*/ 34 h 44"/>
                <a:gd name="T12" fmla="*/ 54 w 54"/>
                <a:gd name="T13" fmla="*/ 36 h 44"/>
                <a:gd name="T14" fmla="*/ 54 w 54"/>
                <a:gd name="T15" fmla="*/ 36 h 44"/>
                <a:gd name="T16" fmla="*/ 52 w 54"/>
                <a:gd name="T17" fmla="*/ 40 h 44"/>
                <a:gd name="T18" fmla="*/ 48 w 54"/>
                <a:gd name="T19" fmla="*/ 42 h 44"/>
                <a:gd name="T20" fmla="*/ 40 w 54"/>
                <a:gd name="T21" fmla="*/ 44 h 44"/>
                <a:gd name="T22" fmla="*/ 30 w 54"/>
                <a:gd name="T23" fmla="*/ 42 h 44"/>
                <a:gd name="T24" fmla="*/ 18 w 54"/>
                <a:gd name="T25" fmla="*/ 38 h 44"/>
                <a:gd name="T26" fmla="*/ 18 w 54"/>
                <a:gd name="T27" fmla="*/ 38 h 44"/>
                <a:gd name="T28" fmla="*/ 8 w 54"/>
                <a:gd name="T29" fmla="*/ 30 h 44"/>
                <a:gd name="T30" fmla="*/ 2 w 54"/>
                <a:gd name="T31" fmla="*/ 22 h 44"/>
                <a:gd name="T32" fmla="*/ 0 w 54"/>
                <a:gd name="T33" fmla="*/ 14 h 44"/>
                <a:gd name="T34" fmla="*/ 0 w 54"/>
                <a:gd name="T35" fmla="*/ 10 h 44"/>
                <a:gd name="T36" fmla="*/ 0 w 54"/>
                <a:gd name="T37" fmla="*/ 6 h 44"/>
                <a:gd name="T38" fmla="*/ 0 w 54"/>
                <a:gd name="T39" fmla="*/ 6 h 44"/>
                <a:gd name="T40" fmla="*/ 2 w 54"/>
                <a:gd name="T41" fmla="*/ 4 h 44"/>
                <a:gd name="T42" fmla="*/ 6 w 54"/>
                <a:gd name="T43" fmla="*/ 2 h 44"/>
                <a:gd name="T44" fmla="*/ 14 w 54"/>
                <a:gd name="T45" fmla="*/ 0 h 44"/>
                <a:gd name="T46" fmla="*/ 26 w 54"/>
                <a:gd name="T47" fmla="*/ 2 h 44"/>
                <a:gd name="T48" fmla="*/ 36 w 54"/>
                <a:gd name="T49" fmla="*/ 6 h 44"/>
                <a:gd name="T50" fmla="*/ 36 w 54"/>
                <a:gd name="T51" fmla="*/ 6 h 4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44"/>
                <a:gd name="T80" fmla="*/ 54 w 54"/>
                <a:gd name="T81" fmla="*/ 44 h 4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44">
                  <a:moveTo>
                    <a:pt x="36" y="6"/>
                  </a:moveTo>
                  <a:lnTo>
                    <a:pt x="36" y="6"/>
                  </a:lnTo>
                  <a:lnTo>
                    <a:pt x="46" y="14"/>
                  </a:lnTo>
                  <a:lnTo>
                    <a:pt x="52" y="22"/>
                  </a:lnTo>
                  <a:lnTo>
                    <a:pt x="54" y="30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2" y="40"/>
                  </a:lnTo>
                  <a:lnTo>
                    <a:pt x="48" y="42"/>
                  </a:lnTo>
                  <a:lnTo>
                    <a:pt x="40" y="44"/>
                  </a:lnTo>
                  <a:lnTo>
                    <a:pt x="30" y="42"/>
                  </a:lnTo>
                  <a:lnTo>
                    <a:pt x="18" y="38"/>
                  </a:lnTo>
                  <a:lnTo>
                    <a:pt x="8" y="30"/>
                  </a:lnTo>
                  <a:lnTo>
                    <a:pt x="2" y="22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14" y="0"/>
                  </a:lnTo>
                  <a:lnTo>
                    <a:pt x="26" y="2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F7DC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294"/>
            <p:cNvSpPr>
              <a:spLocks/>
            </p:cNvSpPr>
            <p:nvPr/>
          </p:nvSpPr>
          <p:spPr bwMode="auto">
            <a:xfrm>
              <a:off x="4670" y="2895"/>
              <a:ext cx="52" cy="40"/>
            </a:xfrm>
            <a:custGeom>
              <a:avLst/>
              <a:gdLst>
                <a:gd name="T0" fmla="*/ 34 w 52"/>
                <a:gd name="T1" fmla="*/ 6 h 40"/>
                <a:gd name="T2" fmla="*/ 34 w 52"/>
                <a:gd name="T3" fmla="*/ 6 h 40"/>
                <a:gd name="T4" fmla="*/ 42 w 52"/>
                <a:gd name="T5" fmla="*/ 12 h 40"/>
                <a:gd name="T6" fmla="*/ 48 w 52"/>
                <a:gd name="T7" fmla="*/ 20 h 40"/>
                <a:gd name="T8" fmla="*/ 52 w 52"/>
                <a:gd name="T9" fmla="*/ 28 h 40"/>
                <a:gd name="T10" fmla="*/ 50 w 52"/>
                <a:gd name="T11" fmla="*/ 34 h 40"/>
                <a:gd name="T12" fmla="*/ 50 w 52"/>
                <a:gd name="T13" fmla="*/ 34 h 40"/>
                <a:gd name="T14" fmla="*/ 44 w 52"/>
                <a:gd name="T15" fmla="*/ 38 h 40"/>
                <a:gd name="T16" fmla="*/ 36 w 52"/>
                <a:gd name="T17" fmla="*/ 40 h 40"/>
                <a:gd name="T18" fmla="*/ 28 w 52"/>
                <a:gd name="T19" fmla="*/ 38 h 40"/>
                <a:gd name="T20" fmla="*/ 18 w 52"/>
                <a:gd name="T21" fmla="*/ 34 h 40"/>
                <a:gd name="T22" fmla="*/ 18 w 52"/>
                <a:gd name="T23" fmla="*/ 34 h 40"/>
                <a:gd name="T24" fmla="*/ 8 w 52"/>
                <a:gd name="T25" fmla="*/ 28 h 40"/>
                <a:gd name="T26" fmla="*/ 2 w 52"/>
                <a:gd name="T27" fmla="*/ 20 h 40"/>
                <a:gd name="T28" fmla="*/ 0 w 52"/>
                <a:gd name="T29" fmla="*/ 12 h 40"/>
                <a:gd name="T30" fmla="*/ 0 w 52"/>
                <a:gd name="T31" fmla="*/ 6 h 40"/>
                <a:gd name="T32" fmla="*/ 0 w 52"/>
                <a:gd name="T33" fmla="*/ 6 h 40"/>
                <a:gd name="T34" fmla="*/ 6 w 52"/>
                <a:gd name="T35" fmla="*/ 0 h 40"/>
                <a:gd name="T36" fmla="*/ 14 w 52"/>
                <a:gd name="T37" fmla="*/ 0 h 40"/>
                <a:gd name="T38" fmla="*/ 24 w 52"/>
                <a:gd name="T39" fmla="*/ 0 h 40"/>
                <a:gd name="T40" fmla="*/ 34 w 52"/>
                <a:gd name="T41" fmla="*/ 6 h 40"/>
                <a:gd name="T42" fmla="*/ 34 w 52"/>
                <a:gd name="T43" fmla="*/ 6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2"/>
                <a:gd name="T67" fmla="*/ 0 h 40"/>
                <a:gd name="T68" fmla="*/ 52 w 52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2" h="40">
                  <a:moveTo>
                    <a:pt x="34" y="6"/>
                  </a:moveTo>
                  <a:lnTo>
                    <a:pt x="34" y="6"/>
                  </a:lnTo>
                  <a:lnTo>
                    <a:pt x="42" y="12"/>
                  </a:lnTo>
                  <a:lnTo>
                    <a:pt x="48" y="20"/>
                  </a:lnTo>
                  <a:lnTo>
                    <a:pt x="52" y="28"/>
                  </a:lnTo>
                  <a:lnTo>
                    <a:pt x="50" y="34"/>
                  </a:lnTo>
                  <a:lnTo>
                    <a:pt x="44" y="38"/>
                  </a:lnTo>
                  <a:lnTo>
                    <a:pt x="36" y="40"/>
                  </a:lnTo>
                  <a:lnTo>
                    <a:pt x="28" y="38"/>
                  </a:lnTo>
                  <a:lnTo>
                    <a:pt x="18" y="34"/>
                  </a:lnTo>
                  <a:lnTo>
                    <a:pt x="8" y="28"/>
                  </a:lnTo>
                  <a:lnTo>
                    <a:pt x="2" y="2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0"/>
                  </a:lnTo>
                  <a:lnTo>
                    <a:pt x="14" y="0"/>
                  </a:lnTo>
                  <a:lnTo>
                    <a:pt x="24" y="0"/>
                  </a:lnTo>
                  <a:lnTo>
                    <a:pt x="34" y="6"/>
                  </a:lnTo>
                  <a:close/>
                </a:path>
              </a:pathLst>
            </a:custGeom>
            <a:solidFill>
              <a:srgbClr val="F7D91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Freeform 295"/>
            <p:cNvSpPr>
              <a:spLocks/>
            </p:cNvSpPr>
            <p:nvPr/>
          </p:nvSpPr>
          <p:spPr bwMode="auto">
            <a:xfrm>
              <a:off x="4624" y="2275"/>
              <a:ext cx="44" cy="44"/>
            </a:xfrm>
            <a:custGeom>
              <a:avLst/>
              <a:gdLst>
                <a:gd name="T0" fmla="*/ 44 w 44"/>
                <a:gd name="T1" fmla="*/ 22 h 44"/>
                <a:gd name="T2" fmla="*/ 44 w 44"/>
                <a:gd name="T3" fmla="*/ 22 h 44"/>
                <a:gd name="T4" fmla="*/ 42 w 44"/>
                <a:gd name="T5" fmla="*/ 30 h 44"/>
                <a:gd name="T6" fmla="*/ 38 w 44"/>
                <a:gd name="T7" fmla="*/ 36 h 44"/>
                <a:gd name="T8" fmla="*/ 30 w 44"/>
                <a:gd name="T9" fmla="*/ 42 h 44"/>
                <a:gd name="T10" fmla="*/ 22 w 44"/>
                <a:gd name="T11" fmla="*/ 44 h 44"/>
                <a:gd name="T12" fmla="*/ 22 w 44"/>
                <a:gd name="T13" fmla="*/ 44 h 44"/>
                <a:gd name="T14" fmla="*/ 12 w 44"/>
                <a:gd name="T15" fmla="*/ 42 h 44"/>
                <a:gd name="T16" fmla="*/ 6 w 44"/>
                <a:gd name="T17" fmla="*/ 36 h 44"/>
                <a:gd name="T18" fmla="*/ 0 w 44"/>
                <a:gd name="T19" fmla="*/ 30 h 44"/>
                <a:gd name="T20" fmla="*/ 0 w 44"/>
                <a:gd name="T21" fmla="*/ 22 h 44"/>
                <a:gd name="T22" fmla="*/ 0 w 44"/>
                <a:gd name="T23" fmla="*/ 22 h 44"/>
                <a:gd name="T24" fmla="*/ 0 w 44"/>
                <a:gd name="T25" fmla="*/ 12 h 44"/>
                <a:gd name="T26" fmla="*/ 6 w 44"/>
                <a:gd name="T27" fmla="*/ 6 h 44"/>
                <a:gd name="T28" fmla="*/ 12 w 44"/>
                <a:gd name="T29" fmla="*/ 0 h 44"/>
                <a:gd name="T30" fmla="*/ 22 w 44"/>
                <a:gd name="T31" fmla="*/ 0 h 44"/>
                <a:gd name="T32" fmla="*/ 22 w 44"/>
                <a:gd name="T33" fmla="*/ 0 h 44"/>
                <a:gd name="T34" fmla="*/ 30 w 44"/>
                <a:gd name="T35" fmla="*/ 0 h 44"/>
                <a:gd name="T36" fmla="*/ 38 w 44"/>
                <a:gd name="T37" fmla="*/ 6 h 44"/>
                <a:gd name="T38" fmla="*/ 42 w 44"/>
                <a:gd name="T39" fmla="*/ 12 h 44"/>
                <a:gd name="T40" fmla="*/ 44 w 44"/>
                <a:gd name="T41" fmla="*/ 22 h 44"/>
                <a:gd name="T42" fmla="*/ 44 w 44"/>
                <a:gd name="T43" fmla="*/ 22 h 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4"/>
                <a:gd name="T67" fmla="*/ 0 h 44"/>
                <a:gd name="T68" fmla="*/ 44 w 44"/>
                <a:gd name="T69" fmla="*/ 44 h 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4" h="44">
                  <a:moveTo>
                    <a:pt x="44" y="22"/>
                  </a:moveTo>
                  <a:lnTo>
                    <a:pt x="44" y="22"/>
                  </a:lnTo>
                  <a:lnTo>
                    <a:pt x="42" y="30"/>
                  </a:lnTo>
                  <a:lnTo>
                    <a:pt x="38" y="36"/>
                  </a:lnTo>
                  <a:lnTo>
                    <a:pt x="30" y="42"/>
                  </a:lnTo>
                  <a:lnTo>
                    <a:pt x="22" y="44"/>
                  </a:lnTo>
                  <a:lnTo>
                    <a:pt x="12" y="42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42" y="12"/>
                  </a:lnTo>
                  <a:lnTo>
                    <a:pt x="44" y="22"/>
                  </a:lnTo>
                  <a:close/>
                </a:path>
              </a:pathLst>
            </a:custGeom>
            <a:solidFill>
              <a:srgbClr val="A1D9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7" name="Freeform 296"/>
            <p:cNvSpPr>
              <a:spLocks/>
            </p:cNvSpPr>
            <p:nvPr/>
          </p:nvSpPr>
          <p:spPr bwMode="auto">
            <a:xfrm>
              <a:off x="4628" y="2347"/>
              <a:ext cx="26" cy="26"/>
            </a:xfrm>
            <a:custGeom>
              <a:avLst/>
              <a:gdLst>
                <a:gd name="T0" fmla="*/ 26 w 26"/>
                <a:gd name="T1" fmla="*/ 14 h 26"/>
                <a:gd name="T2" fmla="*/ 26 w 26"/>
                <a:gd name="T3" fmla="*/ 14 h 26"/>
                <a:gd name="T4" fmla="*/ 26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2 w 26"/>
                <a:gd name="T11" fmla="*/ 26 h 26"/>
                <a:gd name="T12" fmla="*/ 12 w 26"/>
                <a:gd name="T13" fmla="*/ 26 h 26"/>
                <a:gd name="T14" fmla="*/ 8 w 26"/>
                <a:gd name="T15" fmla="*/ 26 h 26"/>
                <a:gd name="T16" fmla="*/ 4 w 26"/>
                <a:gd name="T17" fmla="*/ 24 h 26"/>
                <a:gd name="T18" fmla="*/ 0 w 26"/>
                <a:gd name="T19" fmla="*/ 18 h 26"/>
                <a:gd name="T20" fmla="*/ 0 w 26"/>
                <a:gd name="T21" fmla="*/ 14 h 26"/>
                <a:gd name="T22" fmla="*/ 0 w 26"/>
                <a:gd name="T23" fmla="*/ 14 h 26"/>
                <a:gd name="T24" fmla="*/ 0 w 26"/>
                <a:gd name="T25" fmla="*/ 8 h 26"/>
                <a:gd name="T26" fmla="*/ 4 w 26"/>
                <a:gd name="T27" fmla="*/ 4 h 26"/>
                <a:gd name="T28" fmla="*/ 8 w 26"/>
                <a:gd name="T29" fmla="*/ 2 h 26"/>
                <a:gd name="T30" fmla="*/ 12 w 26"/>
                <a:gd name="T31" fmla="*/ 0 h 26"/>
                <a:gd name="T32" fmla="*/ 12 w 26"/>
                <a:gd name="T33" fmla="*/ 0 h 26"/>
                <a:gd name="T34" fmla="*/ 18 w 26"/>
                <a:gd name="T35" fmla="*/ 2 h 26"/>
                <a:gd name="T36" fmla="*/ 22 w 26"/>
                <a:gd name="T37" fmla="*/ 4 h 26"/>
                <a:gd name="T38" fmla="*/ 26 w 26"/>
                <a:gd name="T39" fmla="*/ 8 h 26"/>
                <a:gd name="T40" fmla="*/ 26 w 26"/>
                <a:gd name="T41" fmla="*/ 14 h 26"/>
                <a:gd name="T42" fmla="*/ 26 w 26"/>
                <a:gd name="T43" fmla="*/ 14 h 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26"/>
                <a:gd name="T68" fmla="*/ 26 w 26"/>
                <a:gd name="T69" fmla="*/ 26 h 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26">
                  <a:moveTo>
                    <a:pt x="26" y="14"/>
                  </a:moveTo>
                  <a:lnTo>
                    <a:pt x="26" y="14"/>
                  </a:lnTo>
                  <a:lnTo>
                    <a:pt x="26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A1D9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Freeform 297"/>
            <p:cNvSpPr>
              <a:spLocks/>
            </p:cNvSpPr>
            <p:nvPr/>
          </p:nvSpPr>
          <p:spPr bwMode="auto">
            <a:xfrm>
              <a:off x="4630" y="2397"/>
              <a:ext cx="18" cy="16"/>
            </a:xfrm>
            <a:custGeom>
              <a:avLst/>
              <a:gdLst>
                <a:gd name="T0" fmla="*/ 18 w 18"/>
                <a:gd name="T1" fmla="*/ 8 h 16"/>
                <a:gd name="T2" fmla="*/ 18 w 18"/>
                <a:gd name="T3" fmla="*/ 8 h 16"/>
                <a:gd name="T4" fmla="*/ 16 w 18"/>
                <a:gd name="T5" fmla="*/ 12 h 16"/>
                <a:gd name="T6" fmla="*/ 16 w 18"/>
                <a:gd name="T7" fmla="*/ 14 h 16"/>
                <a:gd name="T8" fmla="*/ 12 w 18"/>
                <a:gd name="T9" fmla="*/ 16 h 16"/>
                <a:gd name="T10" fmla="*/ 8 w 18"/>
                <a:gd name="T11" fmla="*/ 16 h 16"/>
                <a:gd name="T12" fmla="*/ 8 w 18"/>
                <a:gd name="T13" fmla="*/ 16 h 16"/>
                <a:gd name="T14" fmla="*/ 6 w 18"/>
                <a:gd name="T15" fmla="*/ 16 h 16"/>
                <a:gd name="T16" fmla="*/ 2 w 18"/>
                <a:gd name="T17" fmla="*/ 14 h 16"/>
                <a:gd name="T18" fmla="*/ 0 w 18"/>
                <a:gd name="T19" fmla="*/ 12 h 16"/>
                <a:gd name="T20" fmla="*/ 0 w 18"/>
                <a:gd name="T21" fmla="*/ 8 h 16"/>
                <a:gd name="T22" fmla="*/ 0 w 18"/>
                <a:gd name="T23" fmla="*/ 8 h 16"/>
                <a:gd name="T24" fmla="*/ 0 w 18"/>
                <a:gd name="T25" fmla="*/ 4 h 16"/>
                <a:gd name="T26" fmla="*/ 2 w 18"/>
                <a:gd name="T27" fmla="*/ 2 h 16"/>
                <a:gd name="T28" fmla="*/ 6 w 18"/>
                <a:gd name="T29" fmla="*/ 0 h 16"/>
                <a:gd name="T30" fmla="*/ 8 w 18"/>
                <a:gd name="T31" fmla="*/ 0 h 16"/>
                <a:gd name="T32" fmla="*/ 8 w 18"/>
                <a:gd name="T33" fmla="*/ 0 h 16"/>
                <a:gd name="T34" fmla="*/ 12 w 18"/>
                <a:gd name="T35" fmla="*/ 0 h 16"/>
                <a:gd name="T36" fmla="*/ 16 w 18"/>
                <a:gd name="T37" fmla="*/ 2 h 16"/>
                <a:gd name="T38" fmla="*/ 16 w 18"/>
                <a:gd name="T39" fmla="*/ 4 h 16"/>
                <a:gd name="T40" fmla="*/ 18 w 18"/>
                <a:gd name="T41" fmla="*/ 8 h 16"/>
                <a:gd name="T42" fmla="*/ 18 w 18"/>
                <a:gd name="T43" fmla="*/ 8 h 1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16"/>
                <a:gd name="T68" fmla="*/ 18 w 18"/>
                <a:gd name="T69" fmla="*/ 16 h 1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16">
                  <a:moveTo>
                    <a:pt x="18" y="8"/>
                  </a:moveTo>
                  <a:lnTo>
                    <a:pt x="18" y="8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8" y="8"/>
                  </a:lnTo>
                  <a:close/>
                </a:path>
              </a:pathLst>
            </a:custGeom>
            <a:solidFill>
              <a:srgbClr val="A1D9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Freeform 298"/>
            <p:cNvSpPr>
              <a:spLocks/>
            </p:cNvSpPr>
            <p:nvPr/>
          </p:nvSpPr>
          <p:spPr bwMode="auto">
            <a:xfrm>
              <a:off x="4734" y="2327"/>
              <a:ext cx="44" cy="44"/>
            </a:xfrm>
            <a:custGeom>
              <a:avLst/>
              <a:gdLst>
                <a:gd name="T0" fmla="*/ 40 w 44"/>
                <a:gd name="T1" fmla="*/ 34 h 44"/>
                <a:gd name="T2" fmla="*/ 40 w 44"/>
                <a:gd name="T3" fmla="*/ 34 h 44"/>
                <a:gd name="T4" fmla="*/ 34 w 44"/>
                <a:gd name="T5" fmla="*/ 40 h 44"/>
                <a:gd name="T6" fmla="*/ 26 w 44"/>
                <a:gd name="T7" fmla="*/ 44 h 44"/>
                <a:gd name="T8" fmla="*/ 18 w 44"/>
                <a:gd name="T9" fmla="*/ 44 h 44"/>
                <a:gd name="T10" fmla="*/ 10 w 44"/>
                <a:gd name="T11" fmla="*/ 40 h 44"/>
                <a:gd name="T12" fmla="*/ 10 w 44"/>
                <a:gd name="T13" fmla="*/ 40 h 44"/>
                <a:gd name="T14" fmla="*/ 4 w 44"/>
                <a:gd name="T15" fmla="*/ 34 h 44"/>
                <a:gd name="T16" fmla="*/ 0 w 44"/>
                <a:gd name="T17" fmla="*/ 26 h 44"/>
                <a:gd name="T18" fmla="*/ 0 w 44"/>
                <a:gd name="T19" fmla="*/ 18 h 44"/>
                <a:gd name="T20" fmla="*/ 4 w 44"/>
                <a:gd name="T21" fmla="*/ 10 h 44"/>
                <a:gd name="T22" fmla="*/ 4 w 44"/>
                <a:gd name="T23" fmla="*/ 10 h 44"/>
                <a:gd name="T24" fmla="*/ 10 w 44"/>
                <a:gd name="T25" fmla="*/ 4 h 44"/>
                <a:gd name="T26" fmla="*/ 18 w 44"/>
                <a:gd name="T27" fmla="*/ 0 h 44"/>
                <a:gd name="T28" fmla="*/ 26 w 44"/>
                <a:gd name="T29" fmla="*/ 0 h 44"/>
                <a:gd name="T30" fmla="*/ 34 w 44"/>
                <a:gd name="T31" fmla="*/ 4 h 44"/>
                <a:gd name="T32" fmla="*/ 34 w 44"/>
                <a:gd name="T33" fmla="*/ 4 h 44"/>
                <a:gd name="T34" fmla="*/ 40 w 44"/>
                <a:gd name="T35" fmla="*/ 10 h 44"/>
                <a:gd name="T36" fmla="*/ 44 w 44"/>
                <a:gd name="T37" fmla="*/ 18 h 44"/>
                <a:gd name="T38" fmla="*/ 44 w 44"/>
                <a:gd name="T39" fmla="*/ 26 h 44"/>
                <a:gd name="T40" fmla="*/ 40 w 44"/>
                <a:gd name="T41" fmla="*/ 34 h 44"/>
                <a:gd name="T42" fmla="*/ 40 w 44"/>
                <a:gd name="T43" fmla="*/ 34 h 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4"/>
                <a:gd name="T67" fmla="*/ 0 h 44"/>
                <a:gd name="T68" fmla="*/ 44 w 44"/>
                <a:gd name="T69" fmla="*/ 44 h 4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4" h="44">
                  <a:moveTo>
                    <a:pt x="40" y="34"/>
                  </a:moveTo>
                  <a:lnTo>
                    <a:pt x="40" y="34"/>
                  </a:lnTo>
                  <a:lnTo>
                    <a:pt x="34" y="40"/>
                  </a:lnTo>
                  <a:lnTo>
                    <a:pt x="26" y="44"/>
                  </a:lnTo>
                  <a:lnTo>
                    <a:pt x="18" y="44"/>
                  </a:lnTo>
                  <a:lnTo>
                    <a:pt x="10" y="40"/>
                  </a:lnTo>
                  <a:lnTo>
                    <a:pt x="4" y="34"/>
                  </a:lnTo>
                  <a:lnTo>
                    <a:pt x="0" y="26"/>
                  </a:lnTo>
                  <a:lnTo>
                    <a:pt x="0" y="18"/>
                  </a:lnTo>
                  <a:lnTo>
                    <a:pt x="4" y="10"/>
                  </a:lnTo>
                  <a:lnTo>
                    <a:pt x="10" y="4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4" y="4"/>
                  </a:lnTo>
                  <a:lnTo>
                    <a:pt x="40" y="10"/>
                  </a:lnTo>
                  <a:lnTo>
                    <a:pt x="44" y="18"/>
                  </a:lnTo>
                  <a:lnTo>
                    <a:pt x="44" y="26"/>
                  </a:lnTo>
                  <a:lnTo>
                    <a:pt x="40" y="34"/>
                  </a:lnTo>
                  <a:close/>
                </a:path>
              </a:pathLst>
            </a:custGeom>
            <a:solidFill>
              <a:srgbClr val="A1D9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Freeform 299"/>
            <p:cNvSpPr>
              <a:spLocks/>
            </p:cNvSpPr>
            <p:nvPr/>
          </p:nvSpPr>
          <p:spPr bwMode="auto">
            <a:xfrm>
              <a:off x="4704" y="2387"/>
              <a:ext cx="26" cy="26"/>
            </a:xfrm>
            <a:custGeom>
              <a:avLst/>
              <a:gdLst>
                <a:gd name="T0" fmla="*/ 24 w 26"/>
                <a:gd name="T1" fmla="*/ 20 h 26"/>
                <a:gd name="T2" fmla="*/ 24 w 26"/>
                <a:gd name="T3" fmla="*/ 20 h 26"/>
                <a:gd name="T4" fmla="*/ 20 w 26"/>
                <a:gd name="T5" fmla="*/ 24 h 26"/>
                <a:gd name="T6" fmla="*/ 16 w 26"/>
                <a:gd name="T7" fmla="*/ 26 h 26"/>
                <a:gd name="T8" fmla="*/ 10 w 26"/>
                <a:gd name="T9" fmla="*/ 26 h 26"/>
                <a:gd name="T10" fmla="*/ 6 w 26"/>
                <a:gd name="T11" fmla="*/ 24 h 26"/>
                <a:gd name="T12" fmla="*/ 6 w 26"/>
                <a:gd name="T13" fmla="*/ 24 h 26"/>
                <a:gd name="T14" fmla="*/ 2 w 26"/>
                <a:gd name="T15" fmla="*/ 20 h 26"/>
                <a:gd name="T16" fmla="*/ 0 w 26"/>
                <a:gd name="T17" fmla="*/ 16 h 26"/>
                <a:gd name="T18" fmla="*/ 0 w 26"/>
                <a:gd name="T19" fmla="*/ 12 h 26"/>
                <a:gd name="T20" fmla="*/ 2 w 26"/>
                <a:gd name="T21" fmla="*/ 6 h 26"/>
                <a:gd name="T22" fmla="*/ 2 w 26"/>
                <a:gd name="T23" fmla="*/ 6 h 26"/>
                <a:gd name="T24" fmla="*/ 4 w 26"/>
                <a:gd name="T25" fmla="*/ 2 h 26"/>
                <a:gd name="T26" fmla="*/ 10 w 26"/>
                <a:gd name="T27" fmla="*/ 0 h 26"/>
                <a:gd name="T28" fmla="*/ 14 w 26"/>
                <a:gd name="T29" fmla="*/ 0 h 26"/>
                <a:gd name="T30" fmla="*/ 20 w 26"/>
                <a:gd name="T31" fmla="*/ 2 h 26"/>
                <a:gd name="T32" fmla="*/ 20 w 26"/>
                <a:gd name="T33" fmla="*/ 2 h 26"/>
                <a:gd name="T34" fmla="*/ 24 w 26"/>
                <a:gd name="T35" fmla="*/ 6 h 26"/>
                <a:gd name="T36" fmla="*/ 26 w 26"/>
                <a:gd name="T37" fmla="*/ 10 h 26"/>
                <a:gd name="T38" fmla="*/ 26 w 26"/>
                <a:gd name="T39" fmla="*/ 16 h 26"/>
                <a:gd name="T40" fmla="*/ 24 w 26"/>
                <a:gd name="T41" fmla="*/ 20 h 26"/>
                <a:gd name="T42" fmla="*/ 24 w 26"/>
                <a:gd name="T43" fmla="*/ 20 h 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26"/>
                <a:gd name="T68" fmla="*/ 26 w 26"/>
                <a:gd name="T69" fmla="*/ 26 h 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26">
                  <a:moveTo>
                    <a:pt x="24" y="20"/>
                  </a:move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24" y="6"/>
                  </a:lnTo>
                  <a:lnTo>
                    <a:pt x="26" y="10"/>
                  </a:lnTo>
                  <a:lnTo>
                    <a:pt x="26" y="16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A1D9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300"/>
            <p:cNvSpPr>
              <a:spLocks/>
            </p:cNvSpPr>
            <p:nvPr/>
          </p:nvSpPr>
          <p:spPr bwMode="auto">
            <a:xfrm>
              <a:off x="4682" y="2427"/>
              <a:ext cx="16" cy="18"/>
            </a:xfrm>
            <a:custGeom>
              <a:avLst/>
              <a:gdLst>
                <a:gd name="T0" fmla="*/ 16 w 16"/>
                <a:gd name="T1" fmla="*/ 14 h 18"/>
                <a:gd name="T2" fmla="*/ 16 w 16"/>
                <a:gd name="T3" fmla="*/ 14 h 18"/>
                <a:gd name="T4" fmla="*/ 12 w 16"/>
                <a:gd name="T5" fmla="*/ 16 h 18"/>
                <a:gd name="T6" fmla="*/ 10 w 16"/>
                <a:gd name="T7" fmla="*/ 18 h 18"/>
                <a:gd name="T8" fmla="*/ 6 w 16"/>
                <a:gd name="T9" fmla="*/ 18 h 18"/>
                <a:gd name="T10" fmla="*/ 4 w 16"/>
                <a:gd name="T11" fmla="*/ 16 h 18"/>
                <a:gd name="T12" fmla="*/ 4 w 16"/>
                <a:gd name="T13" fmla="*/ 16 h 18"/>
                <a:gd name="T14" fmla="*/ 0 w 16"/>
                <a:gd name="T15" fmla="*/ 14 h 18"/>
                <a:gd name="T16" fmla="*/ 0 w 16"/>
                <a:gd name="T17" fmla="*/ 12 h 18"/>
                <a:gd name="T18" fmla="*/ 0 w 16"/>
                <a:gd name="T19" fmla="*/ 8 h 18"/>
                <a:gd name="T20" fmla="*/ 0 w 16"/>
                <a:gd name="T21" fmla="*/ 4 h 18"/>
                <a:gd name="T22" fmla="*/ 0 w 16"/>
                <a:gd name="T23" fmla="*/ 4 h 18"/>
                <a:gd name="T24" fmla="*/ 4 w 16"/>
                <a:gd name="T25" fmla="*/ 2 h 18"/>
                <a:gd name="T26" fmla="*/ 6 w 16"/>
                <a:gd name="T27" fmla="*/ 0 h 18"/>
                <a:gd name="T28" fmla="*/ 10 w 16"/>
                <a:gd name="T29" fmla="*/ 0 h 18"/>
                <a:gd name="T30" fmla="*/ 12 w 16"/>
                <a:gd name="T31" fmla="*/ 2 h 18"/>
                <a:gd name="T32" fmla="*/ 12 w 16"/>
                <a:gd name="T33" fmla="*/ 2 h 18"/>
                <a:gd name="T34" fmla="*/ 16 w 16"/>
                <a:gd name="T35" fmla="*/ 4 h 18"/>
                <a:gd name="T36" fmla="*/ 16 w 16"/>
                <a:gd name="T37" fmla="*/ 8 h 18"/>
                <a:gd name="T38" fmla="*/ 16 w 16"/>
                <a:gd name="T39" fmla="*/ 10 h 18"/>
                <a:gd name="T40" fmla="*/ 16 w 16"/>
                <a:gd name="T41" fmla="*/ 14 h 18"/>
                <a:gd name="T42" fmla="*/ 16 w 16"/>
                <a:gd name="T43" fmla="*/ 14 h 1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6"/>
                <a:gd name="T67" fmla="*/ 0 h 18"/>
                <a:gd name="T68" fmla="*/ 16 w 16"/>
                <a:gd name="T69" fmla="*/ 18 h 1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6" h="18">
                  <a:moveTo>
                    <a:pt x="16" y="14"/>
                  </a:moveTo>
                  <a:lnTo>
                    <a:pt x="16" y="14"/>
                  </a:lnTo>
                  <a:lnTo>
                    <a:pt x="12" y="16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0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A1D9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2" name="Freeform 301"/>
            <p:cNvSpPr>
              <a:spLocks/>
            </p:cNvSpPr>
            <p:nvPr/>
          </p:nvSpPr>
          <p:spPr bwMode="auto">
            <a:xfrm>
              <a:off x="4680" y="2917"/>
              <a:ext cx="62" cy="70"/>
            </a:xfrm>
            <a:custGeom>
              <a:avLst/>
              <a:gdLst>
                <a:gd name="T0" fmla="*/ 62 w 62"/>
                <a:gd name="T1" fmla="*/ 66 h 70"/>
                <a:gd name="T2" fmla="*/ 62 w 62"/>
                <a:gd name="T3" fmla="*/ 66 h 70"/>
                <a:gd name="T4" fmla="*/ 54 w 62"/>
                <a:gd name="T5" fmla="*/ 70 h 70"/>
                <a:gd name="T6" fmla="*/ 44 w 62"/>
                <a:gd name="T7" fmla="*/ 70 h 70"/>
                <a:gd name="T8" fmla="*/ 34 w 62"/>
                <a:gd name="T9" fmla="*/ 68 h 70"/>
                <a:gd name="T10" fmla="*/ 28 w 62"/>
                <a:gd name="T11" fmla="*/ 66 h 70"/>
                <a:gd name="T12" fmla="*/ 22 w 62"/>
                <a:gd name="T13" fmla="*/ 62 h 70"/>
                <a:gd name="T14" fmla="*/ 16 w 62"/>
                <a:gd name="T15" fmla="*/ 56 h 70"/>
                <a:gd name="T16" fmla="*/ 12 w 62"/>
                <a:gd name="T17" fmla="*/ 50 h 70"/>
                <a:gd name="T18" fmla="*/ 8 w 62"/>
                <a:gd name="T19" fmla="*/ 40 h 70"/>
                <a:gd name="T20" fmla="*/ 4 w 62"/>
                <a:gd name="T21" fmla="*/ 30 h 70"/>
                <a:gd name="T22" fmla="*/ 2 w 62"/>
                <a:gd name="T23" fmla="*/ 16 h 70"/>
                <a:gd name="T24" fmla="*/ 0 w 62"/>
                <a:gd name="T25" fmla="*/ 0 h 70"/>
                <a:gd name="T26" fmla="*/ 0 w 62"/>
                <a:gd name="T27" fmla="*/ 0 h 70"/>
                <a:gd name="T28" fmla="*/ 4 w 62"/>
                <a:gd name="T29" fmla="*/ 10 h 70"/>
                <a:gd name="T30" fmla="*/ 16 w 62"/>
                <a:gd name="T31" fmla="*/ 30 h 70"/>
                <a:gd name="T32" fmla="*/ 26 w 62"/>
                <a:gd name="T33" fmla="*/ 42 h 70"/>
                <a:gd name="T34" fmla="*/ 36 w 62"/>
                <a:gd name="T35" fmla="*/ 54 h 70"/>
                <a:gd name="T36" fmla="*/ 48 w 62"/>
                <a:gd name="T37" fmla="*/ 62 h 70"/>
                <a:gd name="T38" fmla="*/ 62 w 62"/>
                <a:gd name="T39" fmla="*/ 66 h 70"/>
                <a:gd name="T40" fmla="*/ 62 w 62"/>
                <a:gd name="T41" fmla="*/ 66 h 7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2"/>
                <a:gd name="T64" fmla="*/ 0 h 70"/>
                <a:gd name="T65" fmla="*/ 62 w 62"/>
                <a:gd name="T66" fmla="*/ 70 h 7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2" h="70">
                  <a:moveTo>
                    <a:pt x="62" y="66"/>
                  </a:moveTo>
                  <a:lnTo>
                    <a:pt x="62" y="66"/>
                  </a:lnTo>
                  <a:lnTo>
                    <a:pt x="54" y="70"/>
                  </a:lnTo>
                  <a:lnTo>
                    <a:pt x="44" y="70"/>
                  </a:lnTo>
                  <a:lnTo>
                    <a:pt x="34" y="68"/>
                  </a:lnTo>
                  <a:lnTo>
                    <a:pt x="28" y="66"/>
                  </a:lnTo>
                  <a:lnTo>
                    <a:pt x="22" y="62"/>
                  </a:lnTo>
                  <a:lnTo>
                    <a:pt x="16" y="56"/>
                  </a:lnTo>
                  <a:lnTo>
                    <a:pt x="12" y="50"/>
                  </a:lnTo>
                  <a:lnTo>
                    <a:pt x="8" y="40"/>
                  </a:lnTo>
                  <a:lnTo>
                    <a:pt x="4" y="30"/>
                  </a:lnTo>
                  <a:lnTo>
                    <a:pt x="2" y="16"/>
                  </a:lnTo>
                  <a:lnTo>
                    <a:pt x="0" y="0"/>
                  </a:lnTo>
                  <a:lnTo>
                    <a:pt x="4" y="10"/>
                  </a:lnTo>
                  <a:lnTo>
                    <a:pt x="16" y="30"/>
                  </a:lnTo>
                  <a:lnTo>
                    <a:pt x="26" y="42"/>
                  </a:lnTo>
                  <a:lnTo>
                    <a:pt x="36" y="54"/>
                  </a:lnTo>
                  <a:lnTo>
                    <a:pt x="48" y="62"/>
                  </a:lnTo>
                  <a:lnTo>
                    <a:pt x="62" y="66"/>
                  </a:lnTo>
                  <a:close/>
                </a:path>
              </a:pathLst>
            </a:custGeom>
            <a:solidFill>
              <a:srgbClr val="FA610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Freeform 302"/>
            <p:cNvSpPr>
              <a:spLocks/>
            </p:cNvSpPr>
            <p:nvPr/>
          </p:nvSpPr>
          <p:spPr bwMode="auto">
            <a:xfrm>
              <a:off x="4280" y="2831"/>
              <a:ext cx="80" cy="48"/>
            </a:xfrm>
            <a:custGeom>
              <a:avLst/>
              <a:gdLst>
                <a:gd name="T0" fmla="*/ 80 w 80"/>
                <a:gd name="T1" fmla="*/ 0 h 48"/>
                <a:gd name="T2" fmla="*/ 80 w 80"/>
                <a:gd name="T3" fmla="*/ 0 h 48"/>
                <a:gd name="T4" fmla="*/ 80 w 80"/>
                <a:gd name="T5" fmla="*/ 10 h 48"/>
                <a:gd name="T6" fmla="*/ 80 w 80"/>
                <a:gd name="T7" fmla="*/ 20 h 48"/>
                <a:gd name="T8" fmla="*/ 74 w 80"/>
                <a:gd name="T9" fmla="*/ 30 h 48"/>
                <a:gd name="T10" fmla="*/ 70 w 80"/>
                <a:gd name="T11" fmla="*/ 34 h 48"/>
                <a:gd name="T12" fmla="*/ 66 w 80"/>
                <a:gd name="T13" fmla="*/ 38 h 48"/>
                <a:gd name="T14" fmla="*/ 58 w 80"/>
                <a:gd name="T15" fmla="*/ 42 h 48"/>
                <a:gd name="T16" fmla="*/ 50 w 80"/>
                <a:gd name="T17" fmla="*/ 46 h 48"/>
                <a:gd name="T18" fmla="*/ 40 w 80"/>
                <a:gd name="T19" fmla="*/ 48 h 48"/>
                <a:gd name="T20" fmla="*/ 30 w 80"/>
                <a:gd name="T21" fmla="*/ 48 h 48"/>
                <a:gd name="T22" fmla="*/ 16 w 80"/>
                <a:gd name="T23" fmla="*/ 46 h 48"/>
                <a:gd name="T24" fmla="*/ 0 w 80"/>
                <a:gd name="T25" fmla="*/ 44 h 48"/>
                <a:gd name="T26" fmla="*/ 0 w 80"/>
                <a:gd name="T27" fmla="*/ 44 h 48"/>
                <a:gd name="T28" fmla="*/ 10 w 80"/>
                <a:gd name="T29" fmla="*/ 42 h 48"/>
                <a:gd name="T30" fmla="*/ 34 w 80"/>
                <a:gd name="T31" fmla="*/ 36 h 48"/>
                <a:gd name="T32" fmla="*/ 48 w 80"/>
                <a:gd name="T33" fmla="*/ 30 h 48"/>
                <a:gd name="T34" fmla="*/ 60 w 80"/>
                <a:gd name="T35" fmla="*/ 22 h 48"/>
                <a:gd name="T36" fmla="*/ 72 w 80"/>
                <a:gd name="T37" fmla="*/ 14 h 48"/>
                <a:gd name="T38" fmla="*/ 80 w 80"/>
                <a:gd name="T39" fmla="*/ 0 h 48"/>
                <a:gd name="T40" fmla="*/ 80 w 80"/>
                <a:gd name="T41" fmla="*/ 0 h 4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48"/>
                <a:gd name="T65" fmla="*/ 80 w 80"/>
                <a:gd name="T66" fmla="*/ 48 h 4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48">
                  <a:moveTo>
                    <a:pt x="80" y="0"/>
                  </a:moveTo>
                  <a:lnTo>
                    <a:pt x="80" y="0"/>
                  </a:lnTo>
                  <a:lnTo>
                    <a:pt x="80" y="10"/>
                  </a:lnTo>
                  <a:lnTo>
                    <a:pt x="80" y="20"/>
                  </a:lnTo>
                  <a:lnTo>
                    <a:pt x="74" y="30"/>
                  </a:lnTo>
                  <a:lnTo>
                    <a:pt x="70" y="34"/>
                  </a:lnTo>
                  <a:lnTo>
                    <a:pt x="66" y="38"/>
                  </a:lnTo>
                  <a:lnTo>
                    <a:pt x="58" y="42"/>
                  </a:lnTo>
                  <a:lnTo>
                    <a:pt x="50" y="46"/>
                  </a:lnTo>
                  <a:lnTo>
                    <a:pt x="40" y="48"/>
                  </a:lnTo>
                  <a:lnTo>
                    <a:pt x="30" y="48"/>
                  </a:lnTo>
                  <a:lnTo>
                    <a:pt x="16" y="46"/>
                  </a:lnTo>
                  <a:lnTo>
                    <a:pt x="0" y="44"/>
                  </a:lnTo>
                  <a:lnTo>
                    <a:pt x="10" y="42"/>
                  </a:lnTo>
                  <a:lnTo>
                    <a:pt x="34" y="36"/>
                  </a:lnTo>
                  <a:lnTo>
                    <a:pt x="48" y="30"/>
                  </a:lnTo>
                  <a:lnTo>
                    <a:pt x="60" y="22"/>
                  </a:lnTo>
                  <a:lnTo>
                    <a:pt x="72" y="14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FA610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3" name="Group 303"/>
            <p:cNvGrpSpPr>
              <a:grpSpLocks/>
            </p:cNvGrpSpPr>
            <p:nvPr/>
          </p:nvGrpSpPr>
          <p:grpSpPr bwMode="auto">
            <a:xfrm rot="18956045" flipH="1">
              <a:off x="3444" y="2445"/>
              <a:ext cx="546" cy="519"/>
              <a:chOff x="3476" y="1493"/>
              <a:chExt cx="268" cy="378"/>
            </a:xfrm>
          </p:grpSpPr>
          <p:sp>
            <p:nvSpPr>
              <p:cNvPr id="138" name="Rectangle 304"/>
              <p:cNvSpPr>
                <a:spLocks noChangeArrowheads="1"/>
              </p:cNvSpPr>
              <p:nvPr/>
            </p:nvSpPr>
            <p:spPr bwMode="auto">
              <a:xfrm>
                <a:off x="3526" y="1787"/>
                <a:ext cx="1" cy="1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9" name="Freeform 305"/>
              <p:cNvSpPr>
                <a:spLocks/>
              </p:cNvSpPr>
              <p:nvPr/>
            </p:nvSpPr>
            <p:spPr bwMode="auto">
              <a:xfrm>
                <a:off x="3566" y="1791"/>
                <a:ext cx="142" cy="80"/>
              </a:xfrm>
              <a:custGeom>
                <a:avLst/>
                <a:gdLst>
                  <a:gd name="T0" fmla="*/ 76 w 142"/>
                  <a:gd name="T1" fmla="*/ 2 h 80"/>
                  <a:gd name="T2" fmla="*/ 76 w 142"/>
                  <a:gd name="T3" fmla="*/ 2 h 80"/>
                  <a:gd name="T4" fmla="*/ 90 w 142"/>
                  <a:gd name="T5" fmla="*/ 4 h 80"/>
                  <a:gd name="T6" fmla="*/ 104 w 142"/>
                  <a:gd name="T7" fmla="*/ 8 h 80"/>
                  <a:gd name="T8" fmla="*/ 114 w 142"/>
                  <a:gd name="T9" fmla="*/ 14 h 80"/>
                  <a:gd name="T10" fmla="*/ 124 w 142"/>
                  <a:gd name="T11" fmla="*/ 20 h 80"/>
                  <a:gd name="T12" fmla="*/ 132 w 142"/>
                  <a:gd name="T13" fmla="*/ 26 h 80"/>
                  <a:gd name="T14" fmla="*/ 138 w 142"/>
                  <a:gd name="T15" fmla="*/ 34 h 80"/>
                  <a:gd name="T16" fmla="*/ 142 w 142"/>
                  <a:gd name="T17" fmla="*/ 42 h 80"/>
                  <a:gd name="T18" fmla="*/ 142 w 142"/>
                  <a:gd name="T19" fmla="*/ 50 h 80"/>
                  <a:gd name="T20" fmla="*/ 142 w 142"/>
                  <a:gd name="T21" fmla="*/ 50 h 80"/>
                  <a:gd name="T22" fmla="*/ 138 w 142"/>
                  <a:gd name="T23" fmla="*/ 58 h 80"/>
                  <a:gd name="T24" fmla="*/ 134 w 142"/>
                  <a:gd name="T25" fmla="*/ 64 h 80"/>
                  <a:gd name="T26" fmla="*/ 126 w 142"/>
                  <a:gd name="T27" fmla="*/ 70 h 80"/>
                  <a:gd name="T28" fmla="*/ 116 w 142"/>
                  <a:gd name="T29" fmla="*/ 74 h 80"/>
                  <a:gd name="T30" fmla="*/ 106 w 142"/>
                  <a:gd name="T31" fmla="*/ 78 h 80"/>
                  <a:gd name="T32" fmla="*/ 94 w 142"/>
                  <a:gd name="T33" fmla="*/ 80 h 80"/>
                  <a:gd name="T34" fmla="*/ 80 w 142"/>
                  <a:gd name="T35" fmla="*/ 80 h 80"/>
                  <a:gd name="T36" fmla="*/ 66 w 142"/>
                  <a:gd name="T37" fmla="*/ 80 h 80"/>
                  <a:gd name="T38" fmla="*/ 66 w 142"/>
                  <a:gd name="T39" fmla="*/ 80 h 80"/>
                  <a:gd name="T40" fmla="*/ 52 w 142"/>
                  <a:gd name="T41" fmla="*/ 76 h 80"/>
                  <a:gd name="T42" fmla="*/ 38 w 142"/>
                  <a:gd name="T43" fmla="*/ 72 h 80"/>
                  <a:gd name="T44" fmla="*/ 28 w 142"/>
                  <a:gd name="T45" fmla="*/ 68 h 80"/>
                  <a:gd name="T46" fmla="*/ 18 w 142"/>
                  <a:gd name="T47" fmla="*/ 62 h 80"/>
                  <a:gd name="T48" fmla="*/ 10 w 142"/>
                  <a:gd name="T49" fmla="*/ 54 h 80"/>
                  <a:gd name="T50" fmla="*/ 4 w 142"/>
                  <a:gd name="T51" fmla="*/ 48 h 80"/>
                  <a:gd name="T52" fmla="*/ 0 w 142"/>
                  <a:gd name="T53" fmla="*/ 40 h 80"/>
                  <a:gd name="T54" fmla="*/ 0 w 142"/>
                  <a:gd name="T55" fmla="*/ 32 h 80"/>
                  <a:gd name="T56" fmla="*/ 0 w 142"/>
                  <a:gd name="T57" fmla="*/ 32 h 80"/>
                  <a:gd name="T58" fmla="*/ 2 w 142"/>
                  <a:gd name="T59" fmla="*/ 24 h 80"/>
                  <a:gd name="T60" fmla="*/ 8 w 142"/>
                  <a:gd name="T61" fmla="*/ 18 h 80"/>
                  <a:gd name="T62" fmla="*/ 16 w 142"/>
                  <a:gd name="T63" fmla="*/ 12 h 80"/>
                  <a:gd name="T64" fmla="*/ 24 w 142"/>
                  <a:gd name="T65" fmla="*/ 6 h 80"/>
                  <a:gd name="T66" fmla="*/ 36 w 142"/>
                  <a:gd name="T67" fmla="*/ 4 h 80"/>
                  <a:gd name="T68" fmla="*/ 48 w 142"/>
                  <a:gd name="T69" fmla="*/ 2 h 80"/>
                  <a:gd name="T70" fmla="*/ 62 w 142"/>
                  <a:gd name="T71" fmla="*/ 0 h 80"/>
                  <a:gd name="T72" fmla="*/ 76 w 142"/>
                  <a:gd name="T73" fmla="*/ 2 h 80"/>
                  <a:gd name="T74" fmla="*/ 76 w 142"/>
                  <a:gd name="T75" fmla="*/ 2 h 8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2"/>
                  <a:gd name="T115" fmla="*/ 0 h 80"/>
                  <a:gd name="T116" fmla="*/ 142 w 142"/>
                  <a:gd name="T117" fmla="*/ 80 h 8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2" h="80">
                    <a:moveTo>
                      <a:pt x="76" y="2"/>
                    </a:moveTo>
                    <a:lnTo>
                      <a:pt x="76" y="2"/>
                    </a:lnTo>
                    <a:lnTo>
                      <a:pt x="90" y="4"/>
                    </a:lnTo>
                    <a:lnTo>
                      <a:pt x="104" y="8"/>
                    </a:lnTo>
                    <a:lnTo>
                      <a:pt x="114" y="14"/>
                    </a:lnTo>
                    <a:lnTo>
                      <a:pt x="124" y="20"/>
                    </a:lnTo>
                    <a:lnTo>
                      <a:pt x="132" y="26"/>
                    </a:lnTo>
                    <a:lnTo>
                      <a:pt x="138" y="34"/>
                    </a:lnTo>
                    <a:lnTo>
                      <a:pt x="142" y="42"/>
                    </a:lnTo>
                    <a:lnTo>
                      <a:pt x="142" y="50"/>
                    </a:lnTo>
                    <a:lnTo>
                      <a:pt x="138" y="58"/>
                    </a:lnTo>
                    <a:lnTo>
                      <a:pt x="134" y="64"/>
                    </a:lnTo>
                    <a:lnTo>
                      <a:pt x="126" y="70"/>
                    </a:lnTo>
                    <a:lnTo>
                      <a:pt x="116" y="74"/>
                    </a:lnTo>
                    <a:lnTo>
                      <a:pt x="106" y="78"/>
                    </a:lnTo>
                    <a:lnTo>
                      <a:pt x="94" y="80"/>
                    </a:lnTo>
                    <a:lnTo>
                      <a:pt x="80" y="80"/>
                    </a:lnTo>
                    <a:lnTo>
                      <a:pt x="66" y="80"/>
                    </a:lnTo>
                    <a:lnTo>
                      <a:pt x="52" y="76"/>
                    </a:lnTo>
                    <a:lnTo>
                      <a:pt x="38" y="72"/>
                    </a:lnTo>
                    <a:lnTo>
                      <a:pt x="28" y="68"/>
                    </a:lnTo>
                    <a:lnTo>
                      <a:pt x="18" y="62"/>
                    </a:lnTo>
                    <a:lnTo>
                      <a:pt x="10" y="54"/>
                    </a:lnTo>
                    <a:lnTo>
                      <a:pt x="4" y="48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2" y="24"/>
                    </a:lnTo>
                    <a:lnTo>
                      <a:pt x="8" y="18"/>
                    </a:lnTo>
                    <a:lnTo>
                      <a:pt x="16" y="12"/>
                    </a:lnTo>
                    <a:lnTo>
                      <a:pt x="24" y="6"/>
                    </a:lnTo>
                    <a:lnTo>
                      <a:pt x="36" y="4"/>
                    </a:lnTo>
                    <a:lnTo>
                      <a:pt x="48" y="2"/>
                    </a:lnTo>
                    <a:lnTo>
                      <a:pt x="62" y="0"/>
                    </a:lnTo>
                    <a:lnTo>
                      <a:pt x="76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0" name="Freeform 306"/>
              <p:cNvSpPr>
                <a:spLocks/>
              </p:cNvSpPr>
              <p:nvPr/>
            </p:nvSpPr>
            <p:spPr bwMode="auto">
              <a:xfrm>
                <a:off x="3582" y="1799"/>
                <a:ext cx="110" cy="64"/>
              </a:xfrm>
              <a:custGeom>
                <a:avLst/>
                <a:gdLst>
                  <a:gd name="T0" fmla="*/ 58 w 110"/>
                  <a:gd name="T1" fmla="*/ 2 h 64"/>
                  <a:gd name="T2" fmla="*/ 58 w 110"/>
                  <a:gd name="T3" fmla="*/ 2 h 64"/>
                  <a:gd name="T4" fmla="*/ 70 w 110"/>
                  <a:gd name="T5" fmla="*/ 4 h 64"/>
                  <a:gd name="T6" fmla="*/ 80 w 110"/>
                  <a:gd name="T7" fmla="*/ 6 h 64"/>
                  <a:gd name="T8" fmla="*/ 88 w 110"/>
                  <a:gd name="T9" fmla="*/ 12 h 64"/>
                  <a:gd name="T10" fmla="*/ 96 w 110"/>
                  <a:gd name="T11" fmla="*/ 16 h 64"/>
                  <a:gd name="T12" fmla="*/ 102 w 110"/>
                  <a:gd name="T13" fmla="*/ 22 h 64"/>
                  <a:gd name="T14" fmla="*/ 108 w 110"/>
                  <a:gd name="T15" fmla="*/ 28 h 64"/>
                  <a:gd name="T16" fmla="*/ 110 w 110"/>
                  <a:gd name="T17" fmla="*/ 34 h 64"/>
                  <a:gd name="T18" fmla="*/ 110 w 110"/>
                  <a:gd name="T19" fmla="*/ 40 h 64"/>
                  <a:gd name="T20" fmla="*/ 110 w 110"/>
                  <a:gd name="T21" fmla="*/ 40 h 64"/>
                  <a:gd name="T22" fmla="*/ 108 w 110"/>
                  <a:gd name="T23" fmla="*/ 46 h 64"/>
                  <a:gd name="T24" fmla="*/ 104 w 110"/>
                  <a:gd name="T25" fmla="*/ 52 h 64"/>
                  <a:gd name="T26" fmla="*/ 98 w 110"/>
                  <a:gd name="T27" fmla="*/ 56 h 64"/>
                  <a:gd name="T28" fmla="*/ 92 w 110"/>
                  <a:gd name="T29" fmla="*/ 60 h 64"/>
                  <a:gd name="T30" fmla="*/ 82 w 110"/>
                  <a:gd name="T31" fmla="*/ 62 h 64"/>
                  <a:gd name="T32" fmla="*/ 72 w 110"/>
                  <a:gd name="T33" fmla="*/ 64 h 64"/>
                  <a:gd name="T34" fmla="*/ 62 w 110"/>
                  <a:gd name="T35" fmla="*/ 64 h 64"/>
                  <a:gd name="T36" fmla="*/ 52 w 110"/>
                  <a:gd name="T37" fmla="*/ 64 h 64"/>
                  <a:gd name="T38" fmla="*/ 52 w 110"/>
                  <a:gd name="T39" fmla="*/ 64 h 64"/>
                  <a:gd name="T40" fmla="*/ 40 w 110"/>
                  <a:gd name="T41" fmla="*/ 62 h 64"/>
                  <a:gd name="T42" fmla="*/ 30 w 110"/>
                  <a:gd name="T43" fmla="*/ 58 h 64"/>
                  <a:gd name="T44" fmla="*/ 22 w 110"/>
                  <a:gd name="T45" fmla="*/ 54 h 64"/>
                  <a:gd name="T46" fmla="*/ 14 w 110"/>
                  <a:gd name="T47" fmla="*/ 50 h 64"/>
                  <a:gd name="T48" fmla="*/ 8 w 110"/>
                  <a:gd name="T49" fmla="*/ 44 h 64"/>
                  <a:gd name="T50" fmla="*/ 2 w 110"/>
                  <a:gd name="T51" fmla="*/ 38 h 64"/>
                  <a:gd name="T52" fmla="*/ 0 w 110"/>
                  <a:gd name="T53" fmla="*/ 32 h 64"/>
                  <a:gd name="T54" fmla="*/ 0 w 110"/>
                  <a:gd name="T55" fmla="*/ 24 h 64"/>
                  <a:gd name="T56" fmla="*/ 0 w 110"/>
                  <a:gd name="T57" fmla="*/ 24 h 64"/>
                  <a:gd name="T58" fmla="*/ 2 w 110"/>
                  <a:gd name="T59" fmla="*/ 18 h 64"/>
                  <a:gd name="T60" fmla="*/ 6 w 110"/>
                  <a:gd name="T61" fmla="*/ 14 h 64"/>
                  <a:gd name="T62" fmla="*/ 12 w 110"/>
                  <a:gd name="T63" fmla="*/ 8 h 64"/>
                  <a:gd name="T64" fmla="*/ 18 w 110"/>
                  <a:gd name="T65" fmla="*/ 4 h 64"/>
                  <a:gd name="T66" fmla="*/ 28 w 110"/>
                  <a:gd name="T67" fmla="*/ 2 h 64"/>
                  <a:gd name="T68" fmla="*/ 38 w 110"/>
                  <a:gd name="T69" fmla="*/ 0 h 64"/>
                  <a:gd name="T70" fmla="*/ 48 w 110"/>
                  <a:gd name="T71" fmla="*/ 0 h 64"/>
                  <a:gd name="T72" fmla="*/ 58 w 110"/>
                  <a:gd name="T73" fmla="*/ 2 h 64"/>
                  <a:gd name="T74" fmla="*/ 58 w 110"/>
                  <a:gd name="T75" fmla="*/ 2 h 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64"/>
                  <a:gd name="T116" fmla="*/ 110 w 110"/>
                  <a:gd name="T117" fmla="*/ 64 h 6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64">
                    <a:moveTo>
                      <a:pt x="58" y="2"/>
                    </a:moveTo>
                    <a:lnTo>
                      <a:pt x="58" y="2"/>
                    </a:lnTo>
                    <a:lnTo>
                      <a:pt x="70" y="4"/>
                    </a:lnTo>
                    <a:lnTo>
                      <a:pt x="80" y="6"/>
                    </a:lnTo>
                    <a:lnTo>
                      <a:pt x="88" y="12"/>
                    </a:lnTo>
                    <a:lnTo>
                      <a:pt x="96" y="16"/>
                    </a:lnTo>
                    <a:lnTo>
                      <a:pt x="102" y="22"/>
                    </a:lnTo>
                    <a:lnTo>
                      <a:pt x="108" y="28"/>
                    </a:lnTo>
                    <a:lnTo>
                      <a:pt x="110" y="34"/>
                    </a:lnTo>
                    <a:lnTo>
                      <a:pt x="110" y="40"/>
                    </a:lnTo>
                    <a:lnTo>
                      <a:pt x="108" y="46"/>
                    </a:lnTo>
                    <a:lnTo>
                      <a:pt x="104" y="52"/>
                    </a:lnTo>
                    <a:lnTo>
                      <a:pt x="98" y="56"/>
                    </a:lnTo>
                    <a:lnTo>
                      <a:pt x="92" y="60"/>
                    </a:lnTo>
                    <a:lnTo>
                      <a:pt x="82" y="62"/>
                    </a:lnTo>
                    <a:lnTo>
                      <a:pt x="72" y="64"/>
                    </a:lnTo>
                    <a:lnTo>
                      <a:pt x="62" y="64"/>
                    </a:lnTo>
                    <a:lnTo>
                      <a:pt x="52" y="64"/>
                    </a:lnTo>
                    <a:lnTo>
                      <a:pt x="40" y="62"/>
                    </a:lnTo>
                    <a:lnTo>
                      <a:pt x="30" y="58"/>
                    </a:lnTo>
                    <a:lnTo>
                      <a:pt x="22" y="54"/>
                    </a:lnTo>
                    <a:lnTo>
                      <a:pt x="14" y="50"/>
                    </a:lnTo>
                    <a:lnTo>
                      <a:pt x="8" y="44"/>
                    </a:lnTo>
                    <a:lnTo>
                      <a:pt x="2" y="38"/>
                    </a:lnTo>
                    <a:lnTo>
                      <a:pt x="0" y="32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6" y="14"/>
                    </a:lnTo>
                    <a:lnTo>
                      <a:pt x="12" y="8"/>
                    </a:lnTo>
                    <a:lnTo>
                      <a:pt x="18" y="4"/>
                    </a:lnTo>
                    <a:lnTo>
                      <a:pt x="28" y="2"/>
                    </a:lnTo>
                    <a:lnTo>
                      <a:pt x="38" y="0"/>
                    </a:lnTo>
                    <a:lnTo>
                      <a:pt x="48" y="0"/>
                    </a:lnTo>
                    <a:lnTo>
                      <a:pt x="58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1" name="Freeform 307"/>
              <p:cNvSpPr>
                <a:spLocks/>
              </p:cNvSpPr>
              <p:nvPr/>
            </p:nvSpPr>
            <p:spPr bwMode="auto">
              <a:xfrm>
                <a:off x="3480" y="1499"/>
                <a:ext cx="258" cy="338"/>
              </a:xfrm>
              <a:custGeom>
                <a:avLst/>
                <a:gdLst>
                  <a:gd name="T0" fmla="*/ 12 w 258"/>
                  <a:gd name="T1" fmla="*/ 106 h 338"/>
                  <a:gd name="T2" fmla="*/ 0 w 258"/>
                  <a:gd name="T3" fmla="*/ 84 h 338"/>
                  <a:gd name="T4" fmla="*/ 2 w 258"/>
                  <a:gd name="T5" fmla="*/ 72 h 338"/>
                  <a:gd name="T6" fmla="*/ 10 w 258"/>
                  <a:gd name="T7" fmla="*/ 62 h 338"/>
                  <a:gd name="T8" fmla="*/ 22 w 258"/>
                  <a:gd name="T9" fmla="*/ 60 h 338"/>
                  <a:gd name="T10" fmla="*/ 42 w 258"/>
                  <a:gd name="T11" fmla="*/ 64 h 338"/>
                  <a:gd name="T12" fmla="*/ 66 w 258"/>
                  <a:gd name="T13" fmla="*/ 86 h 338"/>
                  <a:gd name="T14" fmla="*/ 80 w 258"/>
                  <a:gd name="T15" fmla="*/ 104 h 338"/>
                  <a:gd name="T16" fmla="*/ 102 w 258"/>
                  <a:gd name="T17" fmla="*/ 126 h 338"/>
                  <a:gd name="T18" fmla="*/ 106 w 258"/>
                  <a:gd name="T19" fmla="*/ 136 h 338"/>
                  <a:gd name="T20" fmla="*/ 94 w 258"/>
                  <a:gd name="T21" fmla="*/ 74 h 338"/>
                  <a:gd name="T22" fmla="*/ 86 w 258"/>
                  <a:gd name="T23" fmla="*/ 54 h 338"/>
                  <a:gd name="T24" fmla="*/ 82 w 258"/>
                  <a:gd name="T25" fmla="*/ 36 h 338"/>
                  <a:gd name="T26" fmla="*/ 82 w 258"/>
                  <a:gd name="T27" fmla="*/ 16 h 338"/>
                  <a:gd name="T28" fmla="*/ 92 w 258"/>
                  <a:gd name="T29" fmla="*/ 2 h 338"/>
                  <a:gd name="T30" fmla="*/ 102 w 258"/>
                  <a:gd name="T31" fmla="*/ 0 h 338"/>
                  <a:gd name="T32" fmla="*/ 114 w 258"/>
                  <a:gd name="T33" fmla="*/ 2 h 338"/>
                  <a:gd name="T34" fmla="*/ 132 w 258"/>
                  <a:gd name="T35" fmla="*/ 20 h 338"/>
                  <a:gd name="T36" fmla="*/ 144 w 258"/>
                  <a:gd name="T37" fmla="*/ 44 h 338"/>
                  <a:gd name="T38" fmla="*/ 156 w 258"/>
                  <a:gd name="T39" fmla="*/ 84 h 338"/>
                  <a:gd name="T40" fmla="*/ 160 w 258"/>
                  <a:gd name="T41" fmla="*/ 96 h 338"/>
                  <a:gd name="T42" fmla="*/ 174 w 258"/>
                  <a:gd name="T43" fmla="*/ 124 h 338"/>
                  <a:gd name="T44" fmla="*/ 184 w 258"/>
                  <a:gd name="T45" fmla="*/ 122 h 338"/>
                  <a:gd name="T46" fmla="*/ 192 w 258"/>
                  <a:gd name="T47" fmla="*/ 122 h 338"/>
                  <a:gd name="T48" fmla="*/ 208 w 258"/>
                  <a:gd name="T49" fmla="*/ 124 h 338"/>
                  <a:gd name="T50" fmla="*/ 218 w 258"/>
                  <a:gd name="T51" fmla="*/ 130 h 338"/>
                  <a:gd name="T52" fmla="*/ 228 w 258"/>
                  <a:gd name="T53" fmla="*/ 144 h 338"/>
                  <a:gd name="T54" fmla="*/ 230 w 258"/>
                  <a:gd name="T55" fmla="*/ 152 h 338"/>
                  <a:gd name="T56" fmla="*/ 244 w 258"/>
                  <a:gd name="T57" fmla="*/ 156 h 338"/>
                  <a:gd name="T58" fmla="*/ 252 w 258"/>
                  <a:gd name="T59" fmla="*/ 164 h 338"/>
                  <a:gd name="T60" fmla="*/ 258 w 258"/>
                  <a:gd name="T61" fmla="*/ 180 h 338"/>
                  <a:gd name="T62" fmla="*/ 250 w 258"/>
                  <a:gd name="T63" fmla="*/ 206 h 338"/>
                  <a:gd name="T64" fmla="*/ 248 w 258"/>
                  <a:gd name="T65" fmla="*/ 222 h 338"/>
                  <a:gd name="T66" fmla="*/ 246 w 258"/>
                  <a:gd name="T67" fmla="*/ 244 h 338"/>
                  <a:gd name="T68" fmla="*/ 236 w 258"/>
                  <a:gd name="T69" fmla="*/ 286 h 338"/>
                  <a:gd name="T70" fmla="*/ 228 w 258"/>
                  <a:gd name="T71" fmla="*/ 304 h 338"/>
                  <a:gd name="T72" fmla="*/ 208 w 258"/>
                  <a:gd name="T73" fmla="*/ 326 h 338"/>
                  <a:gd name="T74" fmla="*/ 180 w 258"/>
                  <a:gd name="T75" fmla="*/ 336 h 338"/>
                  <a:gd name="T76" fmla="*/ 150 w 258"/>
                  <a:gd name="T77" fmla="*/ 336 h 338"/>
                  <a:gd name="T78" fmla="*/ 120 w 258"/>
                  <a:gd name="T79" fmla="*/ 328 h 338"/>
                  <a:gd name="T80" fmla="*/ 116 w 258"/>
                  <a:gd name="T81" fmla="*/ 324 h 338"/>
                  <a:gd name="T82" fmla="*/ 106 w 258"/>
                  <a:gd name="T83" fmla="*/ 308 h 338"/>
                  <a:gd name="T84" fmla="*/ 96 w 258"/>
                  <a:gd name="T85" fmla="*/ 298 h 338"/>
                  <a:gd name="T86" fmla="*/ 84 w 258"/>
                  <a:gd name="T87" fmla="*/ 276 h 338"/>
                  <a:gd name="T88" fmla="*/ 76 w 258"/>
                  <a:gd name="T89" fmla="*/ 236 h 338"/>
                  <a:gd name="T90" fmla="*/ 72 w 258"/>
                  <a:gd name="T91" fmla="*/ 210 h 338"/>
                  <a:gd name="T92" fmla="*/ 56 w 258"/>
                  <a:gd name="T93" fmla="*/ 160 h 338"/>
                  <a:gd name="T94" fmla="*/ 46 w 258"/>
                  <a:gd name="T95" fmla="*/ 146 h 338"/>
                  <a:gd name="T96" fmla="*/ 24 w 258"/>
                  <a:gd name="T97" fmla="*/ 120 h 338"/>
                  <a:gd name="T98" fmla="*/ 12 w 258"/>
                  <a:gd name="T99" fmla="*/ 106 h 33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8"/>
                  <a:gd name="T151" fmla="*/ 0 h 338"/>
                  <a:gd name="T152" fmla="*/ 258 w 258"/>
                  <a:gd name="T153" fmla="*/ 338 h 33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8" h="338">
                    <a:moveTo>
                      <a:pt x="12" y="106"/>
                    </a:moveTo>
                    <a:lnTo>
                      <a:pt x="12" y="106"/>
                    </a:lnTo>
                    <a:lnTo>
                      <a:pt x="6" y="96"/>
                    </a:lnTo>
                    <a:lnTo>
                      <a:pt x="0" y="84"/>
                    </a:lnTo>
                    <a:lnTo>
                      <a:pt x="0" y="78"/>
                    </a:lnTo>
                    <a:lnTo>
                      <a:pt x="2" y="72"/>
                    </a:lnTo>
                    <a:lnTo>
                      <a:pt x="4" y="68"/>
                    </a:lnTo>
                    <a:lnTo>
                      <a:pt x="10" y="62"/>
                    </a:lnTo>
                    <a:lnTo>
                      <a:pt x="22" y="60"/>
                    </a:lnTo>
                    <a:lnTo>
                      <a:pt x="32" y="60"/>
                    </a:lnTo>
                    <a:lnTo>
                      <a:pt x="42" y="64"/>
                    </a:lnTo>
                    <a:lnTo>
                      <a:pt x="50" y="70"/>
                    </a:lnTo>
                    <a:lnTo>
                      <a:pt x="66" y="86"/>
                    </a:lnTo>
                    <a:lnTo>
                      <a:pt x="80" y="104"/>
                    </a:lnTo>
                    <a:lnTo>
                      <a:pt x="94" y="118"/>
                    </a:lnTo>
                    <a:lnTo>
                      <a:pt x="102" y="126"/>
                    </a:lnTo>
                    <a:lnTo>
                      <a:pt x="106" y="136"/>
                    </a:lnTo>
                    <a:lnTo>
                      <a:pt x="98" y="94"/>
                    </a:lnTo>
                    <a:lnTo>
                      <a:pt x="94" y="74"/>
                    </a:lnTo>
                    <a:lnTo>
                      <a:pt x="86" y="54"/>
                    </a:lnTo>
                    <a:lnTo>
                      <a:pt x="84" y="46"/>
                    </a:lnTo>
                    <a:lnTo>
                      <a:pt x="82" y="36"/>
                    </a:lnTo>
                    <a:lnTo>
                      <a:pt x="82" y="24"/>
                    </a:lnTo>
                    <a:lnTo>
                      <a:pt x="82" y="16"/>
                    </a:lnTo>
                    <a:lnTo>
                      <a:pt x="86" y="6"/>
                    </a:lnTo>
                    <a:lnTo>
                      <a:pt x="92" y="2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4" y="2"/>
                    </a:lnTo>
                    <a:lnTo>
                      <a:pt x="124" y="10"/>
                    </a:lnTo>
                    <a:lnTo>
                      <a:pt x="132" y="20"/>
                    </a:lnTo>
                    <a:lnTo>
                      <a:pt x="138" y="32"/>
                    </a:lnTo>
                    <a:lnTo>
                      <a:pt x="144" y="44"/>
                    </a:lnTo>
                    <a:lnTo>
                      <a:pt x="152" y="70"/>
                    </a:lnTo>
                    <a:lnTo>
                      <a:pt x="156" y="84"/>
                    </a:lnTo>
                    <a:lnTo>
                      <a:pt x="160" y="96"/>
                    </a:lnTo>
                    <a:lnTo>
                      <a:pt x="168" y="110"/>
                    </a:lnTo>
                    <a:lnTo>
                      <a:pt x="174" y="124"/>
                    </a:lnTo>
                    <a:lnTo>
                      <a:pt x="184" y="122"/>
                    </a:lnTo>
                    <a:lnTo>
                      <a:pt x="192" y="122"/>
                    </a:lnTo>
                    <a:lnTo>
                      <a:pt x="200" y="122"/>
                    </a:lnTo>
                    <a:lnTo>
                      <a:pt x="208" y="124"/>
                    </a:lnTo>
                    <a:lnTo>
                      <a:pt x="214" y="126"/>
                    </a:lnTo>
                    <a:lnTo>
                      <a:pt x="218" y="130"/>
                    </a:lnTo>
                    <a:lnTo>
                      <a:pt x="224" y="136"/>
                    </a:lnTo>
                    <a:lnTo>
                      <a:pt x="228" y="144"/>
                    </a:lnTo>
                    <a:lnTo>
                      <a:pt x="230" y="152"/>
                    </a:lnTo>
                    <a:lnTo>
                      <a:pt x="238" y="152"/>
                    </a:lnTo>
                    <a:lnTo>
                      <a:pt x="244" y="156"/>
                    </a:lnTo>
                    <a:lnTo>
                      <a:pt x="252" y="164"/>
                    </a:lnTo>
                    <a:lnTo>
                      <a:pt x="256" y="172"/>
                    </a:lnTo>
                    <a:lnTo>
                      <a:pt x="258" y="180"/>
                    </a:lnTo>
                    <a:lnTo>
                      <a:pt x="256" y="188"/>
                    </a:lnTo>
                    <a:lnTo>
                      <a:pt x="250" y="206"/>
                    </a:lnTo>
                    <a:lnTo>
                      <a:pt x="248" y="214"/>
                    </a:lnTo>
                    <a:lnTo>
                      <a:pt x="248" y="222"/>
                    </a:lnTo>
                    <a:lnTo>
                      <a:pt x="246" y="244"/>
                    </a:lnTo>
                    <a:lnTo>
                      <a:pt x="242" y="264"/>
                    </a:lnTo>
                    <a:lnTo>
                      <a:pt x="236" y="286"/>
                    </a:lnTo>
                    <a:lnTo>
                      <a:pt x="228" y="304"/>
                    </a:lnTo>
                    <a:lnTo>
                      <a:pt x="220" y="316"/>
                    </a:lnTo>
                    <a:lnTo>
                      <a:pt x="208" y="326"/>
                    </a:lnTo>
                    <a:lnTo>
                      <a:pt x="194" y="332"/>
                    </a:lnTo>
                    <a:lnTo>
                      <a:pt x="180" y="336"/>
                    </a:lnTo>
                    <a:lnTo>
                      <a:pt x="164" y="338"/>
                    </a:lnTo>
                    <a:lnTo>
                      <a:pt x="150" y="336"/>
                    </a:lnTo>
                    <a:lnTo>
                      <a:pt x="134" y="332"/>
                    </a:lnTo>
                    <a:lnTo>
                      <a:pt x="120" y="328"/>
                    </a:lnTo>
                    <a:lnTo>
                      <a:pt x="116" y="324"/>
                    </a:lnTo>
                    <a:lnTo>
                      <a:pt x="112" y="320"/>
                    </a:lnTo>
                    <a:lnTo>
                      <a:pt x="106" y="308"/>
                    </a:lnTo>
                    <a:lnTo>
                      <a:pt x="96" y="298"/>
                    </a:lnTo>
                    <a:lnTo>
                      <a:pt x="90" y="288"/>
                    </a:lnTo>
                    <a:lnTo>
                      <a:pt x="84" y="276"/>
                    </a:lnTo>
                    <a:lnTo>
                      <a:pt x="82" y="262"/>
                    </a:lnTo>
                    <a:lnTo>
                      <a:pt x="76" y="236"/>
                    </a:lnTo>
                    <a:lnTo>
                      <a:pt x="72" y="210"/>
                    </a:lnTo>
                    <a:lnTo>
                      <a:pt x="66" y="184"/>
                    </a:lnTo>
                    <a:lnTo>
                      <a:pt x="56" y="160"/>
                    </a:lnTo>
                    <a:lnTo>
                      <a:pt x="46" y="146"/>
                    </a:lnTo>
                    <a:lnTo>
                      <a:pt x="36" y="132"/>
                    </a:lnTo>
                    <a:lnTo>
                      <a:pt x="24" y="120"/>
                    </a:lnTo>
                    <a:lnTo>
                      <a:pt x="12" y="10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2" name="Freeform 308"/>
              <p:cNvSpPr>
                <a:spLocks noEditPoints="1"/>
              </p:cNvSpPr>
              <p:nvPr/>
            </p:nvSpPr>
            <p:spPr bwMode="auto">
              <a:xfrm>
                <a:off x="3476" y="1493"/>
                <a:ext cx="268" cy="348"/>
              </a:xfrm>
              <a:custGeom>
                <a:avLst/>
                <a:gdLst>
                  <a:gd name="T0" fmla="*/ 82 w 268"/>
                  <a:gd name="T1" fmla="*/ 18 h 348"/>
                  <a:gd name="T2" fmla="*/ 84 w 268"/>
                  <a:gd name="T3" fmla="*/ 56 h 348"/>
                  <a:gd name="T4" fmla="*/ 90 w 268"/>
                  <a:gd name="T5" fmla="*/ 72 h 348"/>
                  <a:gd name="T6" fmla="*/ 88 w 268"/>
                  <a:gd name="T7" fmla="*/ 106 h 348"/>
                  <a:gd name="T8" fmla="*/ 64 w 268"/>
                  <a:gd name="T9" fmla="*/ 76 h 348"/>
                  <a:gd name="T10" fmla="*/ 32 w 268"/>
                  <a:gd name="T11" fmla="*/ 60 h 348"/>
                  <a:gd name="T12" fmla="*/ 12 w 268"/>
                  <a:gd name="T13" fmla="*/ 64 h 348"/>
                  <a:gd name="T14" fmla="*/ 0 w 268"/>
                  <a:gd name="T15" fmla="*/ 80 h 348"/>
                  <a:gd name="T16" fmla="*/ 12 w 268"/>
                  <a:gd name="T17" fmla="*/ 116 h 348"/>
                  <a:gd name="T18" fmla="*/ 30 w 268"/>
                  <a:gd name="T19" fmla="*/ 136 h 348"/>
                  <a:gd name="T20" fmla="*/ 64 w 268"/>
                  <a:gd name="T21" fmla="*/ 194 h 348"/>
                  <a:gd name="T22" fmla="*/ 76 w 268"/>
                  <a:gd name="T23" fmla="*/ 244 h 348"/>
                  <a:gd name="T24" fmla="*/ 98 w 268"/>
                  <a:gd name="T25" fmla="*/ 310 h 348"/>
                  <a:gd name="T26" fmla="*/ 112 w 268"/>
                  <a:gd name="T27" fmla="*/ 326 h 348"/>
                  <a:gd name="T28" fmla="*/ 138 w 268"/>
                  <a:gd name="T29" fmla="*/ 344 h 348"/>
                  <a:gd name="T30" fmla="*/ 202 w 268"/>
                  <a:gd name="T31" fmla="*/ 342 h 348"/>
                  <a:gd name="T32" fmla="*/ 236 w 268"/>
                  <a:gd name="T33" fmla="*/ 312 h 348"/>
                  <a:gd name="T34" fmla="*/ 256 w 268"/>
                  <a:gd name="T35" fmla="*/ 228 h 348"/>
                  <a:gd name="T36" fmla="*/ 262 w 268"/>
                  <a:gd name="T37" fmla="*/ 208 h 348"/>
                  <a:gd name="T38" fmla="*/ 266 w 268"/>
                  <a:gd name="T39" fmla="*/ 176 h 348"/>
                  <a:gd name="T40" fmla="*/ 250 w 268"/>
                  <a:gd name="T41" fmla="*/ 158 h 348"/>
                  <a:gd name="T42" fmla="*/ 238 w 268"/>
                  <a:gd name="T43" fmla="*/ 152 h 348"/>
                  <a:gd name="T44" fmla="*/ 230 w 268"/>
                  <a:gd name="T45" fmla="*/ 136 h 348"/>
                  <a:gd name="T46" fmla="*/ 204 w 268"/>
                  <a:gd name="T47" fmla="*/ 122 h 348"/>
                  <a:gd name="T48" fmla="*/ 184 w 268"/>
                  <a:gd name="T49" fmla="*/ 124 h 348"/>
                  <a:gd name="T50" fmla="*/ 182 w 268"/>
                  <a:gd name="T51" fmla="*/ 124 h 348"/>
                  <a:gd name="T52" fmla="*/ 170 w 268"/>
                  <a:gd name="T53" fmla="*/ 98 h 348"/>
                  <a:gd name="T54" fmla="*/ 158 w 268"/>
                  <a:gd name="T55" fmla="*/ 68 h 348"/>
                  <a:gd name="T56" fmla="*/ 142 w 268"/>
                  <a:gd name="T57" fmla="*/ 24 h 348"/>
                  <a:gd name="T58" fmla="*/ 120 w 268"/>
                  <a:gd name="T59" fmla="*/ 2 h 348"/>
                  <a:gd name="T60" fmla="*/ 92 w 268"/>
                  <a:gd name="T61" fmla="*/ 2 h 348"/>
                  <a:gd name="T62" fmla="*/ 112 w 268"/>
                  <a:gd name="T63" fmla="*/ 116 h 348"/>
                  <a:gd name="T64" fmla="*/ 96 w 268"/>
                  <a:gd name="T65" fmla="*/ 58 h 348"/>
                  <a:gd name="T66" fmla="*/ 94 w 268"/>
                  <a:gd name="T67" fmla="*/ 18 h 348"/>
                  <a:gd name="T68" fmla="*/ 104 w 268"/>
                  <a:gd name="T69" fmla="*/ 10 h 348"/>
                  <a:gd name="T70" fmla="*/ 132 w 268"/>
                  <a:gd name="T71" fmla="*/ 30 h 348"/>
                  <a:gd name="T72" fmla="*/ 148 w 268"/>
                  <a:gd name="T73" fmla="*/ 70 h 348"/>
                  <a:gd name="T74" fmla="*/ 160 w 268"/>
                  <a:gd name="T75" fmla="*/ 104 h 348"/>
                  <a:gd name="T76" fmla="*/ 172 w 268"/>
                  <a:gd name="T77" fmla="*/ 126 h 348"/>
                  <a:gd name="T78" fmla="*/ 178 w 268"/>
                  <a:gd name="T79" fmla="*/ 136 h 348"/>
                  <a:gd name="T80" fmla="*/ 202 w 268"/>
                  <a:gd name="T81" fmla="*/ 132 h 348"/>
                  <a:gd name="T82" fmla="*/ 228 w 268"/>
                  <a:gd name="T83" fmla="*/ 154 h 348"/>
                  <a:gd name="T84" fmla="*/ 234 w 268"/>
                  <a:gd name="T85" fmla="*/ 164 h 348"/>
                  <a:gd name="T86" fmla="*/ 252 w 268"/>
                  <a:gd name="T87" fmla="*/ 172 h 348"/>
                  <a:gd name="T88" fmla="*/ 256 w 268"/>
                  <a:gd name="T89" fmla="*/ 190 h 348"/>
                  <a:gd name="T90" fmla="*/ 246 w 268"/>
                  <a:gd name="T91" fmla="*/ 228 h 348"/>
                  <a:gd name="T92" fmla="*/ 234 w 268"/>
                  <a:gd name="T93" fmla="*/ 288 h 348"/>
                  <a:gd name="T94" fmla="*/ 208 w 268"/>
                  <a:gd name="T95" fmla="*/ 328 h 348"/>
                  <a:gd name="T96" fmla="*/ 152 w 268"/>
                  <a:gd name="T97" fmla="*/ 336 h 348"/>
                  <a:gd name="T98" fmla="*/ 120 w 268"/>
                  <a:gd name="T99" fmla="*/ 320 h 348"/>
                  <a:gd name="T100" fmla="*/ 106 w 268"/>
                  <a:gd name="T101" fmla="*/ 304 h 348"/>
                  <a:gd name="T102" fmla="*/ 90 w 268"/>
                  <a:gd name="T103" fmla="*/ 262 h 348"/>
                  <a:gd name="T104" fmla="*/ 82 w 268"/>
                  <a:gd name="T105" fmla="*/ 214 h 348"/>
                  <a:gd name="T106" fmla="*/ 64 w 268"/>
                  <a:gd name="T107" fmla="*/ 164 h 348"/>
                  <a:gd name="T108" fmla="*/ 38 w 268"/>
                  <a:gd name="T109" fmla="*/ 128 h 348"/>
                  <a:gd name="T110" fmla="*/ 12 w 268"/>
                  <a:gd name="T111" fmla="*/ 92 h 348"/>
                  <a:gd name="T112" fmla="*/ 10 w 268"/>
                  <a:gd name="T113" fmla="*/ 82 h 348"/>
                  <a:gd name="T114" fmla="*/ 24 w 268"/>
                  <a:gd name="T115" fmla="*/ 72 h 348"/>
                  <a:gd name="T116" fmla="*/ 56 w 268"/>
                  <a:gd name="T117" fmla="*/ 86 h 348"/>
                  <a:gd name="T118" fmla="*/ 80 w 268"/>
                  <a:gd name="T119" fmla="*/ 112 h 3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68"/>
                  <a:gd name="T181" fmla="*/ 0 h 348"/>
                  <a:gd name="T182" fmla="*/ 268 w 268"/>
                  <a:gd name="T183" fmla="*/ 348 h 34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68" h="348">
                    <a:moveTo>
                      <a:pt x="88" y="6"/>
                    </a:moveTo>
                    <a:lnTo>
                      <a:pt x="88" y="6"/>
                    </a:lnTo>
                    <a:lnTo>
                      <a:pt x="84" y="12"/>
                    </a:lnTo>
                    <a:lnTo>
                      <a:pt x="82" y="18"/>
                    </a:lnTo>
                    <a:lnTo>
                      <a:pt x="80" y="30"/>
                    </a:lnTo>
                    <a:lnTo>
                      <a:pt x="80" y="44"/>
                    </a:lnTo>
                    <a:lnTo>
                      <a:pt x="84" y="56"/>
                    </a:lnTo>
                    <a:lnTo>
                      <a:pt x="86" y="62"/>
                    </a:lnTo>
                    <a:lnTo>
                      <a:pt x="90" y="72"/>
                    </a:lnTo>
                    <a:lnTo>
                      <a:pt x="96" y="94"/>
                    </a:lnTo>
                    <a:lnTo>
                      <a:pt x="100" y="118"/>
                    </a:lnTo>
                    <a:lnTo>
                      <a:pt x="88" y="106"/>
                    </a:lnTo>
                    <a:lnTo>
                      <a:pt x="76" y="90"/>
                    </a:lnTo>
                    <a:lnTo>
                      <a:pt x="64" y="76"/>
                    </a:lnTo>
                    <a:lnTo>
                      <a:pt x="56" y="70"/>
                    </a:lnTo>
                    <a:lnTo>
                      <a:pt x="50" y="66"/>
                    </a:lnTo>
                    <a:lnTo>
                      <a:pt x="42" y="62"/>
                    </a:lnTo>
                    <a:lnTo>
                      <a:pt x="32" y="60"/>
                    </a:lnTo>
                    <a:lnTo>
                      <a:pt x="22" y="60"/>
                    </a:lnTo>
                    <a:lnTo>
                      <a:pt x="12" y="64"/>
                    </a:lnTo>
                    <a:lnTo>
                      <a:pt x="4" y="70"/>
                    </a:lnTo>
                    <a:lnTo>
                      <a:pt x="0" y="80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2" y="116"/>
                    </a:lnTo>
                    <a:lnTo>
                      <a:pt x="30" y="136"/>
                    </a:lnTo>
                    <a:lnTo>
                      <a:pt x="44" y="152"/>
                    </a:lnTo>
                    <a:lnTo>
                      <a:pt x="54" y="168"/>
                    </a:lnTo>
                    <a:lnTo>
                      <a:pt x="64" y="194"/>
                    </a:lnTo>
                    <a:lnTo>
                      <a:pt x="70" y="218"/>
                    </a:lnTo>
                    <a:lnTo>
                      <a:pt x="76" y="244"/>
                    </a:lnTo>
                    <a:lnTo>
                      <a:pt x="78" y="264"/>
                    </a:lnTo>
                    <a:lnTo>
                      <a:pt x="84" y="284"/>
                    </a:lnTo>
                    <a:lnTo>
                      <a:pt x="92" y="302"/>
                    </a:lnTo>
                    <a:lnTo>
                      <a:pt x="98" y="310"/>
                    </a:lnTo>
                    <a:lnTo>
                      <a:pt x="106" y="318"/>
                    </a:lnTo>
                    <a:lnTo>
                      <a:pt x="112" y="326"/>
                    </a:lnTo>
                    <a:lnTo>
                      <a:pt x="116" y="334"/>
                    </a:lnTo>
                    <a:lnTo>
                      <a:pt x="122" y="338"/>
                    </a:lnTo>
                    <a:lnTo>
                      <a:pt x="138" y="344"/>
                    </a:lnTo>
                    <a:lnTo>
                      <a:pt x="154" y="348"/>
                    </a:lnTo>
                    <a:lnTo>
                      <a:pt x="170" y="348"/>
                    </a:lnTo>
                    <a:lnTo>
                      <a:pt x="186" y="348"/>
                    </a:lnTo>
                    <a:lnTo>
                      <a:pt x="202" y="342"/>
                    </a:lnTo>
                    <a:lnTo>
                      <a:pt x="216" y="336"/>
                    </a:lnTo>
                    <a:lnTo>
                      <a:pt x="228" y="326"/>
                    </a:lnTo>
                    <a:lnTo>
                      <a:pt x="236" y="312"/>
                    </a:lnTo>
                    <a:lnTo>
                      <a:pt x="246" y="292"/>
                    </a:lnTo>
                    <a:lnTo>
                      <a:pt x="252" y="272"/>
                    </a:lnTo>
                    <a:lnTo>
                      <a:pt x="256" y="250"/>
                    </a:lnTo>
                    <a:lnTo>
                      <a:pt x="256" y="228"/>
                    </a:lnTo>
                    <a:lnTo>
                      <a:pt x="258" y="218"/>
                    </a:lnTo>
                    <a:lnTo>
                      <a:pt x="262" y="208"/>
                    </a:lnTo>
                    <a:lnTo>
                      <a:pt x="266" y="192"/>
                    </a:lnTo>
                    <a:lnTo>
                      <a:pt x="268" y="184"/>
                    </a:lnTo>
                    <a:lnTo>
                      <a:pt x="266" y="176"/>
                    </a:lnTo>
                    <a:lnTo>
                      <a:pt x="260" y="166"/>
                    </a:lnTo>
                    <a:lnTo>
                      <a:pt x="252" y="158"/>
                    </a:lnTo>
                    <a:lnTo>
                      <a:pt x="250" y="158"/>
                    </a:lnTo>
                    <a:lnTo>
                      <a:pt x="244" y="154"/>
                    </a:lnTo>
                    <a:lnTo>
                      <a:pt x="238" y="152"/>
                    </a:lnTo>
                    <a:lnTo>
                      <a:pt x="234" y="144"/>
                    </a:lnTo>
                    <a:lnTo>
                      <a:pt x="230" y="136"/>
                    </a:lnTo>
                    <a:lnTo>
                      <a:pt x="226" y="132"/>
                    </a:lnTo>
                    <a:lnTo>
                      <a:pt x="220" y="126"/>
                    </a:lnTo>
                    <a:lnTo>
                      <a:pt x="212" y="124"/>
                    </a:lnTo>
                    <a:lnTo>
                      <a:pt x="204" y="122"/>
                    </a:lnTo>
                    <a:lnTo>
                      <a:pt x="196" y="122"/>
                    </a:lnTo>
                    <a:lnTo>
                      <a:pt x="188" y="122"/>
                    </a:lnTo>
                    <a:lnTo>
                      <a:pt x="184" y="124"/>
                    </a:lnTo>
                    <a:lnTo>
                      <a:pt x="182" y="124"/>
                    </a:lnTo>
                    <a:lnTo>
                      <a:pt x="174" y="106"/>
                    </a:lnTo>
                    <a:lnTo>
                      <a:pt x="170" y="98"/>
                    </a:lnTo>
                    <a:lnTo>
                      <a:pt x="164" y="82"/>
                    </a:lnTo>
                    <a:lnTo>
                      <a:pt x="158" y="68"/>
                    </a:lnTo>
                    <a:lnTo>
                      <a:pt x="154" y="52"/>
                    </a:lnTo>
                    <a:lnTo>
                      <a:pt x="148" y="38"/>
                    </a:lnTo>
                    <a:lnTo>
                      <a:pt x="142" y="24"/>
                    </a:lnTo>
                    <a:lnTo>
                      <a:pt x="132" y="12"/>
                    </a:lnTo>
                    <a:lnTo>
                      <a:pt x="120" y="4"/>
                    </a:lnTo>
                    <a:lnTo>
                      <a:pt x="120" y="2"/>
                    </a:lnTo>
                    <a:lnTo>
                      <a:pt x="108" y="0"/>
                    </a:lnTo>
                    <a:lnTo>
                      <a:pt x="100" y="0"/>
                    </a:lnTo>
                    <a:lnTo>
                      <a:pt x="92" y="2"/>
                    </a:lnTo>
                    <a:lnTo>
                      <a:pt x="88" y="6"/>
                    </a:lnTo>
                    <a:close/>
                    <a:moveTo>
                      <a:pt x="116" y="140"/>
                    </a:moveTo>
                    <a:lnTo>
                      <a:pt x="112" y="116"/>
                    </a:lnTo>
                    <a:lnTo>
                      <a:pt x="104" y="86"/>
                    </a:lnTo>
                    <a:lnTo>
                      <a:pt x="96" y="58"/>
                    </a:lnTo>
                    <a:lnTo>
                      <a:pt x="92" y="48"/>
                    </a:lnTo>
                    <a:lnTo>
                      <a:pt x="90" y="34"/>
                    </a:lnTo>
                    <a:lnTo>
                      <a:pt x="92" y="22"/>
                    </a:lnTo>
                    <a:lnTo>
                      <a:pt x="94" y="18"/>
                    </a:lnTo>
                    <a:lnTo>
                      <a:pt x="96" y="14"/>
                    </a:lnTo>
                    <a:lnTo>
                      <a:pt x="100" y="12"/>
                    </a:lnTo>
                    <a:lnTo>
                      <a:pt x="104" y="10"/>
                    </a:lnTo>
                    <a:lnTo>
                      <a:pt x="116" y="12"/>
                    </a:lnTo>
                    <a:lnTo>
                      <a:pt x="124" y="22"/>
                    </a:lnTo>
                    <a:lnTo>
                      <a:pt x="132" y="30"/>
                    </a:lnTo>
                    <a:lnTo>
                      <a:pt x="138" y="42"/>
                    </a:lnTo>
                    <a:lnTo>
                      <a:pt x="144" y="54"/>
                    </a:lnTo>
                    <a:lnTo>
                      <a:pt x="148" y="70"/>
                    </a:lnTo>
                    <a:lnTo>
                      <a:pt x="152" y="86"/>
                    </a:lnTo>
                    <a:lnTo>
                      <a:pt x="160" y="104"/>
                    </a:lnTo>
                    <a:lnTo>
                      <a:pt x="164" y="110"/>
                    </a:lnTo>
                    <a:lnTo>
                      <a:pt x="172" y="126"/>
                    </a:lnTo>
                    <a:lnTo>
                      <a:pt x="172" y="130"/>
                    </a:lnTo>
                    <a:lnTo>
                      <a:pt x="174" y="136"/>
                    </a:lnTo>
                    <a:lnTo>
                      <a:pt x="178" y="136"/>
                    </a:lnTo>
                    <a:lnTo>
                      <a:pt x="186" y="134"/>
                    </a:lnTo>
                    <a:lnTo>
                      <a:pt x="190" y="134"/>
                    </a:lnTo>
                    <a:lnTo>
                      <a:pt x="202" y="132"/>
                    </a:lnTo>
                    <a:lnTo>
                      <a:pt x="214" y="136"/>
                    </a:lnTo>
                    <a:lnTo>
                      <a:pt x="222" y="144"/>
                    </a:lnTo>
                    <a:lnTo>
                      <a:pt x="228" y="154"/>
                    </a:lnTo>
                    <a:lnTo>
                      <a:pt x="228" y="160"/>
                    </a:lnTo>
                    <a:lnTo>
                      <a:pt x="230" y="164"/>
                    </a:lnTo>
                    <a:lnTo>
                      <a:pt x="234" y="164"/>
                    </a:lnTo>
                    <a:lnTo>
                      <a:pt x="240" y="164"/>
                    </a:lnTo>
                    <a:lnTo>
                      <a:pt x="246" y="166"/>
                    </a:lnTo>
                    <a:lnTo>
                      <a:pt x="252" y="172"/>
                    </a:lnTo>
                    <a:lnTo>
                      <a:pt x="256" y="180"/>
                    </a:lnTo>
                    <a:lnTo>
                      <a:pt x="256" y="184"/>
                    </a:lnTo>
                    <a:lnTo>
                      <a:pt x="256" y="190"/>
                    </a:lnTo>
                    <a:lnTo>
                      <a:pt x="252" y="204"/>
                    </a:lnTo>
                    <a:lnTo>
                      <a:pt x="248" y="216"/>
                    </a:lnTo>
                    <a:lnTo>
                      <a:pt x="246" y="228"/>
                    </a:lnTo>
                    <a:lnTo>
                      <a:pt x="244" y="248"/>
                    </a:lnTo>
                    <a:lnTo>
                      <a:pt x="240" y="268"/>
                    </a:lnTo>
                    <a:lnTo>
                      <a:pt x="234" y="288"/>
                    </a:lnTo>
                    <a:lnTo>
                      <a:pt x="228" y="308"/>
                    </a:lnTo>
                    <a:lnTo>
                      <a:pt x="218" y="320"/>
                    </a:lnTo>
                    <a:lnTo>
                      <a:pt x="208" y="328"/>
                    </a:lnTo>
                    <a:lnTo>
                      <a:pt x="194" y="334"/>
                    </a:lnTo>
                    <a:lnTo>
                      <a:pt x="180" y="338"/>
                    </a:lnTo>
                    <a:lnTo>
                      <a:pt x="166" y="338"/>
                    </a:lnTo>
                    <a:lnTo>
                      <a:pt x="152" y="336"/>
                    </a:lnTo>
                    <a:lnTo>
                      <a:pt x="138" y="334"/>
                    </a:lnTo>
                    <a:lnTo>
                      <a:pt x="126" y="328"/>
                    </a:lnTo>
                    <a:lnTo>
                      <a:pt x="120" y="320"/>
                    </a:lnTo>
                    <a:lnTo>
                      <a:pt x="114" y="312"/>
                    </a:lnTo>
                    <a:lnTo>
                      <a:pt x="106" y="304"/>
                    </a:lnTo>
                    <a:lnTo>
                      <a:pt x="102" y="296"/>
                    </a:lnTo>
                    <a:lnTo>
                      <a:pt x="94" y="280"/>
                    </a:lnTo>
                    <a:lnTo>
                      <a:pt x="90" y="262"/>
                    </a:lnTo>
                    <a:lnTo>
                      <a:pt x="86" y="242"/>
                    </a:lnTo>
                    <a:lnTo>
                      <a:pt x="82" y="214"/>
                    </a:lnTo>
                    <a:lnTo>
                      <a:pt x="74" y="186"/>
                    </a:lnTo>
                    <a:lnTo>
                      <a:pt x="64" y="164"/>
                    </a:lnTo>
                    <a:lnTo>
                      <a:pt x="58" y="154"/>
                    </a:lnTo>
                    <a:lnTo>
                      <a:pt x="52" y="144"/>
                    </a:lnTo>
                    <a:lnTo>
                      <a:pt x="38" y="128"/>
                    </a:lnTo>
                    <a:lnTo>
                      <a:pt x="20" y="108"/>
                    </a:lnTo>
                    <a:lnTo>
                      <a:pt x="16" y="102"/>
                    </a:lnTo>
                    <a:lnTo>
                      <a:pt x="12" y="92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2" y="78"/>
                    </a:lnTo>
                    <a:lnTo>
                      <a:pt x="16" y="74"/>
                    </a:lnTo>
                    <a:lnTo>
                      <a:pt x="24" y="72"/>
                    </a:lnTo>
                    <a:lnTo>
                      <a:pt x="32" y="72"/>
                    </a:lnTo>
                    <a:lnTo>
                      <a:pt x="38" y="72"/>
                    </a:lnTo>
                    <a:lnTo>
                      <a:pt x="44" y="76"/>
                    </a:lnTo>
                    <a:lnTo>
                      <a:pt x="56" y="86"/>
                    </a:lnTo>
                    <a:lnTo>
                      <a:pt x="66" y="98"/>
                    </a:lnTo>
                    <a:lnTo>
                      <a:pt x="80" y="112"/>
                    </a:lnTo>
                    <a:lnTo>
                      <a:pt x="94" y="128"/>
                    </a:lnTo>
                    <a:lnTo>
                      <a:pt x="106" y="144"/>
                    </a:lnTo>
                    <a:lnTo>
                      <a:pt x="116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3" name="Freeform 309"/>
              <p:cNvSpPr>
                <a:spLocks/>
              </p:cNvSpPr>
              <p:nvPr/>
            </p:nvSpPr>
            <p:spPr bwMode="auto">
              <a:xfrm>
                <a:off x="3484" y="1503"/>
                <a:ext cx="250" cy="330"/>
              </a:xfrm>
              <a:custGeom>
                <a:avLst/>
                <a:gdLst>
                  <a:gd name="T0" fmla="*/ 86 w 250"/>
                  <a:gd name="T1" fmla="*/ 276 h 330"/>
                  <a:gd name="T2" fmla="*/ 74 w 250"/>
                  <a:gd name="T3" fmla="*/ 210 h 330"/>
                  <a:gd name="T4" fmla="*/ 62 w 250"/>
                  <a:gd name="T5" fmla="*/ 168 h 330"/>
                  <a:gd name="T6" fmla="*/ 44 w 250"/>
                  <a:gd name="T7" fmla="*/ 136 h 330"/>
                  <a:gd name="T8" fmla="*/ 20 w 250"/>
                  <a:gd name="T9" fmla="*/ 110 h 330"/>
                  <a:gd name="T10" fmla="*/ 4 w 250"/>
                  <a:gd name="T11" fmla="*/ 86 h 330"/>
                  <a:gd name="T12" fmla="*/ 0 w 250"/>
                  <a:gd name="T13" fmla="*/ 78 h 330"/>
                  <a:gd name="T14" fmla="*/ 2 w 250"/>
                  <a:gd name="T15" fmla="*/ 68 h 330"/>
                  <a:gd name="T16" fmla="*/ 10 w 250"/>
                  <a:gd name="T17" fmla="*/ 60 h 330"/>
                  <a:gd name="T18" fmla="*/ 30 w 250"/>
                  <a:gd name="T19" fmla="*/ 62 h 330"/>
                  <a:gd name="T20" fmla="*/ 36 w 250"/>
                  <a:gd name="T21" fmla="*/ 64 h 330"/>
                  <a:gd name="T22" fmla="*/ 66 w 250"/>
                  <a:gd name="T23" fmla="*/ 92 h 330"/>
                  <a:gd name="T24" fmla="*/ 98 w 250"/>
                  <a:gd name="T25" fmla="*/ 130 h 330"/>
                  <a:gd name="T26" fmla="*/ 114 w 250"/>
                  <a:gd name="T27" fmla="*/ 158 h 330"/>
                  <a:gd name="T28" fmla="*/ 106 w 250"/>
                  <a:gd name="T29" fmla="*/ 126 h 330"/>
                  <a:gd name="T30" fmla="*/ 92 w 250"/>
                  <a:gd name="T31" fmla="*/ 64 h 330"/>
                  <a:gd name="T32" fmla="*/ 80 w 250"/>
                  <a:gd name="T33" fmla="*/ 28 h 330"/>
                  <a:gd name="T34" fmla="*/ 82 w 250"/>
                  <a:gd name="T35" fmla="*/ 16 h 330"/>
                  <a:gd name="T36" fmla="*/ 86 w 250"/>
                  <a:gd name="T37" fmla="*/ 6 h 330"/>
                  <a:gd name="T38" fmla="*/ 96 w 250"/>
                  <a:gd name="T39" fmla="*/ 0 h 330"/>
                  <a:gd name="T40" fmla="*/ 108 w 250"/>
                  <a:gd name="T41" fmla="*/ 2 h 330"/>
                  <a:gd name="T42" fmla="*/ 122 w 250"/>
                  <a:gd name="T43" fmla="*/ 14 h 330"/>
                  <a:gd name="T44" fmla="*/ 130 w 250"/>
                  <a:gd name="T45" fmla="*/ 30 h 330"/>
                  <a:gd name="T46" fmla="*/ 146 w 250"/>
                  <a:gd name="T47" fmla="*/ 76 h 330"/>
                  <a:gd name="T48" fmla="*/ 158 w 250"/>
                  <a:gd name="T49" fmla="*/ 102 h 330"/>
                  <a:gd name="T50" fmla="*/ 166 w 250"/>
                  <a:gd name="T51" fmla="*/ 122 h 330"/>
                  <a:gd name="T52" fmla="*/ 166 w 250"/>
                  <a:gd name="T53" fmla="*/ 124 h 330"/>
                  <a:gd name="T54" fmla="*/ 174 w 250"/>
                  <a:gd name="T55" fmla="*/ 124 h 330"/>
                  <a:gd name="T56" fmla="*/ 190 w 250"/>
                  <a:gd name="T57" fmla="*/ 122 h 330"/>
                  <a:gd name="T58" fmla="*/ 208 w 250"/>
                  <a:gd name="T59" fmla="*/ 126 h 330"/>
                  <a:gd name="T60" fmla="*/ 216 w 250"/>
                  <a:gd name="T61" fmla="*/ 136 h 330"/>
                  <a:gd name="T62" fmla="*/ 222 w 250"/>
                  <a:gd name="T63" fmla="*/ 152 h 330"/>
                  <a:gd name="T64" fmla="*/ 230 w 250"/>
                  <a:gd name="T65" fmla="*/ 152 h 330"/>
                  <a:gd name="T66" fmla="*/ 240 w 250"/>
                  <a:gd name="T67" fmla="*/ 158 h 330"/>
                  <a:gd name="T68" fmla="*/ 248 w 250"/>
                  <a:gd name="T69" fmla="*/ 168 h 330"/>
                  <a:gd name="T70" fmla="*/ 250 w 250"/>
                  <a:gd name="T71" fmla="*/ 182 h 330"/>
                  <a:gd name="T72" fmla="*/ 248 w 250"/>
                  <a:gd name="T73" fmla="*/ 190 h 330"/>
                  <a:gd name="T74" fmla="*/ 240 w 250"/>
                  <a:gd name="T75" fmla="*/ 206 h 330"/>
                  <a:gd name="T76" fmla="*/ 238 w 250"/>
                  <a:gd name="T77" fmla="*/ 214 h 330"/>
                  <a:gd name="T78" fmla="*/ 238 w 250"/>
                  <a:gd name="T79" fmla="*/ 232 h 330"/>
                  <a:gd name="T80" fmla="*/ 228 w 250"/>
                  <a:gd name="T81" fmla="*/ 276 h 330"/>
                  <a:gd name="T82" fmla="*/ 218 w 250"/>
                  <a:gd name="T83" fmla="*/ 304 h 330"/>
                  <a:gd name="T84" fmla="*/ 210 w 250"/>
                  <a:gd name="T85" fmla="*/ 314 h 330"/>
                  <a:gd name="T86" fmla="*/ 190 w 250"/>
                  <a:gd name="T87" fmla="*/ 324 h 330"/>
                  <a:gd name="T88" fmla="*/ 170 w 250"/>
                  <a:gd name="T89" fmla="*/ 328 h 330"/>
                  <a:gd name="T90" fmla="*/ 136 w 250"/>
                  <a:gd name="T91" fmla="*/ 326 h 330"/>
                  <a:gd name="T92" fmla="*/ 120 w 250"/>
                  <a:gd name="T93" fmla="*/ 322 h 330"/>
                  <a:gd name="T94" fmla="*/ 116 w 250"/>
                  <a:gd name="T95" fmla="*/ 318 h 330"/>
                  <a:gd name="T96" fmla="*/ 114 w 250"/>
                  <a:gd name="T97" fmla="*/ 312 h 330"/>
                  <a:gd name="T98" fmla="*/ 102 w 250"/>
                  <a:gd name="T99" fmla="*/ 298 h 330"/>
                  <a:gd name="T100" fmla="*/ 88 w 250"/>
                  <a:gd name="T101" fmla="*/ 284 h 330"/>
                  <a:gd name="T102" fmla="*/ 86 w 250"/>
                  <a:gd name="T103" fmla="*/ 276 h 33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50"/>
                  <a:gd name="T157" fmla="*/ 0 h 330"/>
                  <a:gd name="T158" fmla="*/ 250 w 250"/>
                  <a:gd name="T159" fmla="*/ 330 h 33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50" h="330">
                    <a:moveTo>
                      <a:pt x="86" y="276"/>
                    </a:moveTo>
                    <a:lnTo>
                      <a:pt x="86" y="276"/>
                    </a:lnTo>
                    <a:lnTo>
                      <a:pt x="82" y="250"/>
                    </a:lnTo>
                    <a:lnTo>
                      <a:pt x="74" y="210"/>
                    </a:lnTo>
                    <a:lnTo>
                      <a:pt x="68" y="188"/>
                    </a:lnTo>
                    <a:lnTo>
                      <a:pt x="62" y="168"/>
                    </a:lnTo>
                    <a:lnTo>
                      <a:pt x="54" y="150"/>
                    </a:lnTo>
                    <a:lnTo>
                      <a:pt x="44" y="136"/>
                    </a:lnTo>
                    <a:lnTo>
                      <a:pt x="20" y="110"/>
                    </a:lnTo>
                    <a:lnTo>
                      <a:pt x="10" y="98"/>
                    </a:lnTo>
                    <a:lnTo>
                      <a:pt x="4" y="86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2" y="68"/>
                    </a:lnTo>
                    <a:lnTo>
                      <a:pt x="6" y="64"/>
                    </a:lnTo>
                    <a:lnTo>
                      <a:pt x="10" y="60"/>
                    </a:lnTo>
                    <a:lnTo>
                      <a:pt x="16" y="60"/>
                    </a:lnTo>
                    <a:lnTo>
                      <a:pt x="30" y="62"/>
                    </a:lnTo>
                    <a:lnTo>
                      <a:pt x="36" y="64"/>
                    </a:lnTo>
                    <a:lnTo>
                      <a:pt x="46" y="72"/>
                    </a:lnTo>
                    <a:lnTo>
                      <a:pt x="66" y="92"/>
                    </a:lnTo>
                    <a:lnTo>
                      <a:pt x="84" y="114"/>
                    </a:lnTo>
                    <a:lnTo>
                      <a:pt x="98" y="130"/>
                    </a:lnTo>
                    <a:lnTo>
                      <a:pt x="114" y="158"/>
                    </a:lnTo>
                    <a:lnTo>
                      <a:pt x="106" y="126"/>
                    </a:lnTo>
                    <a:lnTo>
                      <a:pt x="92" y="64"/>
                    </a:lnTo>
                    <a:lnTo>
                      <a:pt x="84" y="40"/>
                    </a:lnTo>
                    <a:lnTo>
                      <a:pt x="80" y="28"/>
                    </a:lnTo>
                    <a:lnTo>
                      <a:pt x="80" y="22"/>
                    </a:lnTo>
                    <a:lnTo>
                      <a:pt x="82" y="16"/>
                    </a:lnTo>
                    <a:lnTo>
                      <a:pt x="86" y="6"/>
                    </a:lnTo>
                    <a:lnTo>
                      <a:pt x="90" y="2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08" y="2"/>
                    </a:lnTo>
                    <a:lnTo>
                      <a:pt x="114" y="6"/>
                    </a:lnTo>
                    <a:lnTo>
                      <a:pt x="122" y="14"/>
                    </a:lnTo>
                    <a:lnTo>
                      <a:pt x="130" y="30"/>
                    </a:lnTo>
                    <a:lnTo>
                      <a:pt x="136" y="46"/>
                    </a:lnTo>
                    <a:lnTo>
                      <a:pt x="146" y="76"/>
                    </a:lnTo>
                    <a:lnTo>
                      <a:pt x="158" y="102"/>
                    </a:lnTo>
                    <a:lnTo>
                      <a:pt x="162" y="114"/>
                    </a:lnTo>
                    <a:lnTo>
                      <a:pt x="166" y="122"/>
                    </a:lnTo>
                    <a:lnTo>
                      <a:pt x="166" y="124"/>
                    </a:lnTo>
                    <a:lnTo>
                      <a:pt x="168" y="124"/>
                    </a:lnTo>
                    <a:lnTo>
                      <a:pt x="174" y="124"/>
                    </a:lnTo>
                    <a:lnTo>
                      <a:pt x="182" y="122"/>
                    </a:lnTo>
                    <a:lnTo>
                      <a:pt x="190" y="122"/>
                    </a:lnTo>
                    <a:lnTo>
                      <a:pt x="200" y="122"/>
                    </a:lnTo>
                    <a:lnTo>
                      <a:pt x="208" y="126"/>
                    </a:lnTo>
                    <a:lnTo>
                      <a:pt x="214" y="130"/>
                    </a:lnTo>
                    <a:lnTo>
                      <a:pt x="216" y="136"/>
                    </a:lnTo>
                    <a:lnTo>
                      <a:pt x="220" y="144"/>
                    </a:lnTo>
                    <a:lnTo>
                      <a:pt x="222" y="152"/>
                    </a:lnTo>
                    <a:lnTo>
                      <a:pt x="230" y="152"/>
                    </a:lnTo>
                    <a:lnTo>
                      <a:pt x="236" y="154"/>
                    </a:lnTo>
                    <a:lnTo>
                      <a:pt x="240" y="158"/>
                    </a:lnTo>
                    <a:lnTo>
                      <a:pt x="244" y="162"/>
                    </a:lnTo>
                    <a:lnTo>
                      <a:pt x="248" y="168"/>
                    </a:lnTo>
                    <a:lnTo>
                      <a:pt x="250" y="174"/>
                    </a:lnTo>
                    <a:lnTo>
                      <a:pt x="250" y="182"/>
                    </a:lnTo>
                    <a:lnTo>
                      <a:pt x="248" y="190"/>
                    </a:lnTo>
                    <a:lnTo>
                      <a:pt x="244" y="200"/>
                    </a:lnTo>
                    <a:lnTo>
                      <a:pt x="240" y="206"/>
                    </a:lnTo>
                    <a:lnTo>
                      <a:pt x="238" y="210"/>
                    </a:lnTo>
                    <a:lnTo>
                      <a:pt x="238" y="214"/>
                    </a:lnTo>
                    <a:lnTo>
                      <a:pt x="238" y="232"/>
                    </a:lnTo>
                    <a:lnTo>
                      <a:pt x="234" y="260"/>
                    </a:lnTo>
                    <a:lnTo>
                      <a:pt x="228" y="276"/>
                    </a:lnTo>
                    <a:lnTo>
                      <a:pt x="224" y="292"/>
                    </a:lnTo>
                    <a:lnTo>
                      <a:pt x="218" y="304"/>
                    </a:lnTo>
                    <a:lnTo>
                      <a:pt x="210" y="314"/>
                    </a:lnTo>
                    <a:lnTo>
                      <a:pt x="200" y="320"/>
                    </a:lnTo>
                    <a:lnTo>
                      <a:pt x="190" y="324"/>
                    </a:lnTo>
                    <a:lnTo>
                      <a:pt x="180" y="326"/>
                    </a:lnTo>
                    <a:lnTo>
                      <a:pt x="170" y="328"/>
                    </a:lnTo>
                    <a:lnTo>
                      <a:pt x="150" y="330"/>
                    </a:lnTo>
                    <a:lnTo>
                      <a:pt x="136" y="326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4" y="312"/>
                    </a:lnTo>
                    <a:lnTo>
                      <a:pt x="110" y="308"/>
                    </a:lnTo>
                    <a:lnTo>
                      <a:pt x="102" y="298"/>
                    </a:lnTo>
                    <a:lnTo>
                      <a:pt x="92" y="290"/>
                    </a:lnTo>
                    <a:lnTo>
                      <a:pt x="88" y="284"/>
                    </a:lnTo>
                    <a:lnTo>
                      <a:pt x="86" y="27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4" name="Freeform 310"/>
              <p:cNvSpPr>
                <a:spLocks/>
              </p:cNvSpPr>
              <p:nvPr/>
            </p:nvSpPr>
            <p:spPr bwMode="auto">
              <a:xfrm>
                <a:off x="3680" y="1635"/>
                <a:ext cx="28" cy="82"/>
              </a:xfrm>
              <a:custGeom>
                <a:avLst/>
                <a:gdLst>
                  <a:gd name="T0" fmla="*/ 18 w 28"/>
                  <a:gd name="T1" fmla="*/ 0 h 82"/>
                  <a:gd name="T2" fmla="*/ 18 w 28"/>
                  <a:gd name="T3" fmla="*/ 0 h 82"/>
                  <a:gd name="T4" fmla="*/ 24 w 28"/>
                  <a:gd name="T5" fmla="*/ 24 h 82"/>
                  <a:gd name="T6" fmla="*/ 24 w 28"/>
                  <a:gd name="T7" fmla="*/ 32 h 82"/>
                  <a:gd name="T8" fmla="*/ 22 w 28"/>
                  <a:gd name="T9" fmla="*/ 42 h 82"/>
                  <a:gd name="T10" fmla="*/ 18 w 28"/>
                  <a:gd name="T11" fmla="*/ 58 h 82"/>
                  <a:gd name="T12" fmla="*/ 8 w 28"/>
                  <a:gd name="T13" fmla="*/ 74 h 82"/>
                  <a:gd name="T14" fmla="*/ 8 w 28"/>
                  <a:gd name="T15" fmla="*/ 74 h 82"/>
                  <a:gd name="T16" fmla="*/ 4 w 28"/>
                  <a:gd name="T17" fmla="*/ 80 h 82"/>
                  <a:gd name="T18" fmla="*/ 0 w 28"/>
                  <a:gd name="T19" fmla="*/ 82 h 82"/>
                  <a:gd name="T20" fmla="*/ 0 w 28"/>
                  <a:gd name="T21" fmla="*/ 82 h 82"/>
                  <a:gd name="T22" fmla="*/ 4 w 28"/>
                  <a:gd name="T23" fmla="*/ 82 h 82"/>
                  <a:gd name="T24" fmla="*/ 10 w 28"/>
                  <a:gd name="T25" fmla="*/ 78 h 82"/>
                  <a:gd name="T26" fmla="*/ 18 w 28"/>
                  <a:gd name="T27" fmla="*/ 70 h 82"/>
                  <a:gd name="T28" fmla="*/ 20 w 28"/>
                  <a:gd name="T29" fmla="*/ 64 h 82"/>
                  <a:gd name="T30" fmla="*/ 24 w 28"/>
                  <a:gd name="T31" fmla="*/ 56 h 82"/>
                  <a:gd name="T32" fmla="*/ 24 w 28"/>
                  <a:gd name="T33" fmla="*/ 56 h 82"/>
                  <a:gd name="T34" fmla="*/ 28 w 28"/>
                  <a:gd name="T35" fmla="*/ 38 h 82"/>
                  <a:gd name="T36" fmla="*/ 28 w 28"/>
                  <a:gd name="T37" fmla="*/ 24 h 82"/>
                  <a:gd name="T38" fmla="*/ 26 w 28"/>
                  <a:gd name="T39" fmla="*/ 14 h 82"/>
                  <a:gd name="T40" fmla="*/ 18 w 28"/>
                  <a:gd name="T41" fmla="*/ 0 h 82"/>
                  <a:gd name="T42" fmla="*/ 18 w 28"/>
                  <a:gd name="T43" fmla="*/ 0 h 8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8"/>
                  <a:gd name="T67" fmla="*/ 0 h 82"/>
                  <a:gd name="T68" fmla="*/ 28 w 28"/>
                  <a:gd name="T69" fmla="*/ 82 h 8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8" h="82">
                    <a:moveTo>
                      <a:pt x="18" y="0"/>
                    </a:moveTo>
                    <a:lnTo>
                      <a:pt x="18" y="0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22" y="42"/>
                    </a:lnTo>
                    <a:lnTo>
                      <a:pt x="18" y="58"/>
                    </a:lnTo>
                    <a:lnTo>
                      <a:pt x="8" y="74"/>
                    </a:lnTo>
                    <a:lnTo>
                      <a:pt x="4" y="80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10" y="78"/>
                    </a:lnTo>
                    <a:lnTo>
                      <a:pt x="18" y="70"/>
                    </a:lnTo>
                    <a:lnTo>
                      <a:pt x="20" y="64"/>
                    </a:lnTo>
                    <a:lnTo>
                      <a:pt x="24" y="56"/>
                    </a:lnTo>
                    <a:lnTo>
                      <a:pt x="28" y="38"/>
                    </a:lnTo>
                    <a:lnTo>
                      <a:pt x="28" y="24"/>
                    </a:lnTo>
                    <a:lnTo>
                      <a:pt x="26" y="1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5" name="Freeform 311"/>
              <p:cNvSpPr>
                <a:spLocks/>
              </p:cNvSpPr>
              <p:nvPr/>
            </p:nvSpPr>
            <p:spPr bwMode="auto">
              <a:xfrm>
                <a:off x="3640" y="1629"/>
                <a:ext cx="20" cy="88"/>
              </a:xfrm>
              <a:custGeom>
                <a:avLst/>
                <a:gdLst>
                  <a:gd name="T0" fmla="*/ 14 w 20"/>
                  <a:gd name="T1" fmla="*/ 0 h 88"/>
                  <a:gd name="T2" fmla="*/ 14 w 20"/>
                  <a:gd name="T3" fmla="*/ 0 h 88"/>
                  <a:gd name="T4" fmla="*/ 16 w 20"/>
                  <a:gd name="T5" fmla="*/ 4 h 88"/>
                  <a:gd name="T6" fmla="*/ 20 w 20"/>
                  <a:gd name="T7" fmla="*/ 18 h 88"/>
                  <a:gd name="T8" fmla="*/ 20 w 20"/>
                  <a:gd name="T9" fmla="*/ 32 h 88"/>
                  <a:gd name="T10" fmla="*/ 20 w 20"/>
                  <a:gd name="T11" fmla="*/ 40 h 88"/>
                  <a:gd name="T12" fmla="*/ 16 w 20"/>
                  <a:gd name="T13" fmla="*/ 46 h 88"/>
                  <a:gd name="T14" fmla="*/ 16 w 20"/>
                  <a:gd name="T15" fmla="*/ 46 h 88"/>
                  <a:gd name="T16" fmla="*/ 10 w 20"/>
                  <a:gd name="T17" fmla="*/ 56 h 88"/>
                  <a:gd name="T18" fmla="*/ 6 w 20"/>
                  <a:gd name="T19" fmla="*/ 66 h 88"/>
                  <a:gd name="T20" fmla="*/ 6 w 20"/>
                  <a:gd name="T21" fmla="*/ 74 h 88"/>
                  <a:gd name="T22" fmla="*/ 6 w 20"/>
                  <a:gd name="T23" fmla="*/ 80 h 88"/>
                  <a:gd name="T24" fmla="*/ 6 w 20"/>
                  <a:gd name="T25" fmla="*/ 80 h 88"/>
                  <a:gd name="T26" fmla="*/ 8 w 20"/>
                  <a:gd name="T27" fmla="*/ 86 h 88"/>
                  <a:gd name="T28" fmla="*/ 10 w 20"/>
                  <a:gd name="T29" fmla="*/ 88 h 88"/>
                  <a:gd name="T30" fmla="*/ 10 w 20"/>
                  <a:gd name="T31" fmla="*/ 88 h 88"/>
                  <a:gd name="T32" fmla="*/ 8 w 20"/>
                  <a:gd name="T33" fmla="*/ 86 h 88"/>
                  <a:gd name="T34" fmla="*/ 2 w 20"/>
                  <a:gd name="T35" fmla="*/ 80 h 88"/>
                  <a:gd name="T36" fmla="*/ 0 w 20"/>
                  <a:gd name="T37" fmla="*/ 76 h 88"/>
                  <a:gd name="T38" fmla="*/ 0 w 20"/>
                  <a:gd name="T39" fmla="*/ 70 h 88"/>
                  <a:gd name="T40" fmla="*/ 0 w 20"/>
                  <a:gd name="T41" fmla="*/ 64 h 88"/>
                  <a:gd name="T42" fmla="*/ 4 w 20"/>
                  <a:gd name="T43" fmla="*/ 58 h 88"/>
                  <a:gd name="T44" fmla="*/ 4 w 20"/>
                  <a:gd name="T45" fmla="*/ 58 h 88"/>
                  <a:gd name="T46" fmla="*/ 8 w 20"/>
                  <a:gd name="T47" fmla="*/ 48 h 88"/>
                  <a:gd name="T48" fmla="*/ 8 w 20"/>
                  <a:gd name="T49" fmla="*/ 48 h 88"/>
                  <a:gd name="T50" fmla="*/ 8 w 20"/>
                  <a:gd name="T51" fmla="*/ 46 h 88"/>
                  <a:gd name="T52" fmla="*/ 6 w 20"/>
                  <a:gd name="T53" fmla="*/ 46 h 88"/>
                  <a:gd name="T54" fmla="*/ 8 w 20"/>
                  <a:gd name="T55" fmla="*/ 42 h 88"/>
                  <a:gd name="T56" fmla="*/ 8 w 20"/>
                  <a:gd name="T57" fmla="*/ 42 h 88"/>
                  <a:gd name="T58" fmla="*/ 12 w 20"/>
                  <a:gd name="T59" fmla="*/ 36 h 88"/>
                  <a:gd name="T60" fmla="*/ 12 w 20"/>
                  <a:gd name="T61" fmla="*/ 30 h 88"/>
                  <a:gd name="T62" fmla="*/ 14 w 20"/>
                  <a:gd name="T63" fmla="*/ 16 h 88"/>
                  <a:gd name="T64" fmla="*/ 14 w 20"/>
                  <a:gd name="T65" fmla="*/ 0 h 88"/>
                  <a:gd name="T66" fmla="*/ 14 w 20"/>
                  <a:gd name="T67" fmla="*/ 0 h 8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0"/>
                  <a:gd name="T103" fmla="*/ 0 h 88"/>
                  <a:gd name="T104" fmla="*/ 20 w 20"/>
                  <a:gd name="T105" fmla="*/ 88 h 8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0" h="88">
                    <a:moveTo>
                      <a:pt x="14" y="0"/>
                    </a:moveTo>
                    <a:lnTo>
                      <a:pt x="14" y="0"/>
                    </a:lnTo>
                    <a:lnTo>
                      <a:pt x="16" y="4"/>
                    </a:lnTo>
                    <a:lnTo>
                      <a:pt x="20" y="18"/>
                    </a:lnTo>
                    <a:lnTo>
                      <a:pt x="20" y="32"/>
                    </a:lnTo>
                    <a:lnTo>
                      <a:pt x="20" y="40"/>
                    </a:lnTo>
                    <a:lnTo>
                      <a:pt x="16" y="46"/>
                    </a:lnTo>
                    <a:lnTo>
                      <a:pt x="10" y="56"/>
                    </a:lnTo>
                    <a:lnTo>
                      <a:pt x="6" y="66"/>
                    </a:lnTo>
                    <a:lnTo>
                      <a:pt x="6" y="74"/>
                    </a:lnTo>
                    <a:lnTo>
                      <a:pt x="6" y="80"/>
                    </a:lnTo>
                    <a:lnTo>
                      <a:pt x="8" y="86"/>
                    </a:lnTo>
                    <a:lnTo>
                      <a:pt x="10" y="88"/>
                    </a:lnTo>
                    <a:lnTo>
                      <a:pt x="8" y="86"/>
                    </a:lnTo>
                    <a:lnTo>
                      <a:pt x="2" y="80"/>
                    </a:lnTo>
                    <a:lnTo>
                      <a:pt x="0" y="76"/>
                    </a:lnTo>
                    <a:lnTo>
                      <a:pt x="0" y="70"/>
                    </a:lnTo>
                    <a:lnTo>
                      <a:pt x="0" y="64"/>
                    </a:lnTo>
                    <a:lnTo>
                      <a:pt x="4" y="5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8" y="42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14" y="16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6" name="Freeform 312"/>
              <p:cNvSpPr>
                <a:spLocks/>
              </p:cNvSpPr>
              <p:nvPr/>
            </p:nvSpPr>
            <p:spPr bwMode="auto">
              <a:xfrm>
                <a:off x="3672" y="1703"/>
                <a:ext cx="50" cy="44"/>
              </a:xfrm>
              <a:custGeom>
                <a:avLst/>
                <a:gdLst>
                  <a:gd name="T0" fmla="*/ 0 w 50"/>
                  <a:gd name="T1" fmla="*/ 24 h 44"/>
                  <a:gd name="T2" fmla="*/ 0 w 50"/>
                  <a:gd name="T3" fmla="*/ 24 h 44"/>
                  <a:gd name="T4" fmla="*/ 2 w 50"/>
                  <a:gd name="T5" fmla="*/ 30 h 44"/>
                  <a:gd name="T6" fmla="*/ 4 w 50"/>
                  <a:gd name="T7" fmla="*/ 34 h 44"/>
                  <a:gd name="T8" fmla="*/ 8 w 50"/>
                  <a:gd name="T9" fmla="*/ 36 h 44"/>
                  <a:gd name="T10" fmla="*/ 10 w 50"/>
                  <a:gd name="T11" fmla="*/ 38 h 44"/>
                  <a:gd name="T12" fmla="*/ 18 w 50"/>
                  <a:gd name="T13" fmla="*/ 36 h 44"/>
                  <a:gd name="T14" fmla="*/ 26 w 50"/>
                  <a:gd name="T15" fmla="*/ 30 h 44"/>
                  <a:gd name="T16" fmla="*/ 34 w 50"/>
                  <a:gd name="T17" fmla="*/ 24 h 44"/>
                  <a:gd name="T18" fmla="*/ 42 w 50"/>
                  <a:gd name="T19" fmla="*/ 14 h 44"/>
                  <a:gd name="T20" fmla="*/ 50 w 50"/>
                  <a:gd name="T21" fmla="*/ 0 h 44"/>
                  <a:gd name="T22" fmla="*/ 50 w 50"/>
                  <a:gd name="T23" fmla="*/ 0 h 44"/>
                  <a:gd name="T24" fmla="*/ 46 w 50"/>
                  <a:gd name="T25" fmla="*/ 12 h 44"/>
                  <a:gd name="T26" fmla="*/ 38 w 50"/>
                  <a:gd name="T27" fmla="*/ 26 h 44"/>
                  <a:gd name="T28" fmla="*/ 38 w 50"/>
                  <a:gd name="T29" fmla="*/ 26 h 44"/>
                  <a:gd name="T30" fmla="*/ 28 w 50"/>
                  <a:gd name="T31" fmla="*/ 36 h 44"/>
                  <a:gd name="T32" fmla="*/ 24 w 50"/>
                  <a:gd name="T33" fmla="*/ 40 h 44"/>
                  <a:gd name="T34" fmla="*/ 18 w 50"/>
                  <a:gd name="T35" fmla="*/ 42 h 44"/>
                  <a:gd name="T36" fmla="*/ 18 w 50"/>
                  <a:gd name="T37" fmla="*/ 42 h 44"/>
                  <a:gd name="T38" fmla="*/ 12 w 50"/>
                  <a:gd name="T39" fmla="*/ 44 h 44"/>
                  <a:gd name="T40" fmla="*/ 6 w 50"/>
                  <a:gd name="T41" fmla="*/ 40 h 44"/>
                  <a:gd name="T42" fmla="*/ 6 w 50"/>
                  <a:gd name="T43" fmla="*/ 40 h 44"/>
                  <a:gd name="T44" fmla="*/ 2 w 50"/>
                  <a:gd name="T45" fmla="*/ 36 h 44"/>
                  <a:gd name="T46" fmla="*/ 0 w 50"/>
                  <a:gd name="T47" fmla="*/ 30 h 44"/>
                  <a:gd name="T48" fmla="*/ 0 w 50"/>
                  <a:gd name="T49" fmla="*/ 24 h 44"/>
                  <a:gd name="T50" fmla="*/ 0 w 50"/>
                  <a:gd name="T51" fmla="*/ 24 h 4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0"/>
                  <a:gd name="T79" fmla="*/ 0 h 44"/>
                  <a:gd name="T80" fmla="*/ 50 w 50"/>
                  <a:gd name="T81" fmla="*/ 44 h 4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0" h="44">
                    <a:moveTo>
                      <a:pt x="0" y="24"/>
                    </a:moveTo>
                    <a:lnTo>
                      <a:pt x="0" y="24"/>
                    </a:lnTo>
                    <a:lnTo>
                      <a:pt x="2" y="30"/>
                    </a:lnTo>
                    <a:lnTo>
                      <a:pt x="4" y="34"/>
                    </a:lnTo>
                    <a:lnTo>
                      <a:pt x="8" y="36"/>
                    </a:lnTo>
                    <a:lnTo>
                      <a:pt x="10" y="38"/>
                    </a:lnTo>
                    <a:lnTo>
                      <a:pt x="18" y="36"/>
                    </a:lnTo>
                    <a:lnTo>
                      <a:pt x="26" y="30"/>
                    </a:lnTo>
                    <a:lnTo>
                      <a:pt x="34" y="24"/>
                    </a:lnTo>
                    <a:lnTo>
                      <a:pt x="42" y="14"/>
                    </a:lnTo>
                    <a:lnTo>
                      <a:pt x="50" y="0"/>
                    </a:lnTo>
                    <a:lnTo>
                      <a:pt x="46" y="12"/>
                    </a:lnTo>
                    <a:lnTo>
                      <a:pt x="38" y="26"/>
                    </a:lnTo>
                    <a:lnTo>
                      <a:pt x="28" y="36"/>
                    </a:lnTo>
                    <a:lnTo>
                      <a:pt x="24" y="40"/>
                    </a:lnTo>
                    <a:lnTo>
                      <a:pt x="18" y="42"/>
                    </a:lnTo>
                    <a:lnTo>
                      <a:pt x="12" y="44"/>
                    </a:lnTo>
                    <a:lnTo>
                      <a:pt x="6" y="40"/>
                    </a:lnTo>
                    <a:lnTo>
                      <a:pt x="2" y="36"/>
                    </a:lnTo>
                    <a:lnTo>
                      <a:pt x="0" y="3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7" name="Freeform 313"/>
              <p:cNvSpPr>
                <a:spLocks/>
              </p:cNvSpPr>
              <p:nvPr/>
            </p:nvSpPr>
            <p:spPr bwMode="auto">
              <a:xfrm>
                <a:off x="3576" y="1665"/>
                <a:ext cx="120" cy="136"/>
              </a:xfrm>
              <a:custGeom>
                <a:avLst/>
                <a:gdLst>
                  <a:gd name="T0" fmla="*/ 6 w 120"/>
                  <a:gd name="T1" fmla="*/ 62 h 136"/>
                  <a:gd name="T2" fmla="*/ 6 w 120"/>
                  <a:gd name="T3" fmla="*/ 62 h 136"/>
                  <a:gd name="T4" fmla="*/ 12 w 120"/>
                  <a:gd name="T5" fmla="*/ 52 h 136"/>
                  <a:gd name="T6" fmla="*/ 24 w 120"/>
                  <a:gd name="T7" fmla="*/ 32 h 136"/>
                  <a:gd name="T8" fmla="*/ 40 w 120"/>
                  <a:gd name="T9" fmla="*/ 10 h 136"/>
                  <a:gd name="T10" fmla="*/ 50 w 120"/>
                  <a:gd name="T11" fmla="*/ 4 h 136"/>
                  <a:gd name="T12" fmla="*/ 56 w 120"/>
                  <a:gd name="T13" fmla="*/ 0 h 136"/>
                  <a:gd name="T14" fmla="*/ 56 w 120"/>
                  <a:gd name="T15" fmla="*/ 0 h 136"/>
                  <a:gd name="T16" fmla="*/ 64 w 120"/>
                  <a:gd name="T17" fmla="*/ 0 h 136"/>
                  <a:gd name="T18" fmla="*/ 72 w 120"/>
                  <a:gd name="T19" fmla="*/ 0 h 136"/>
                  <a:gd name="T20" fmla="*/ 88 w 120"/>
                  <a:gd name="T21" fmla="*/ 6 h 136"/>
                  <a:gd name="T22" fmla="*/ 102 w 120"/>
                  <a:gd name="T23" fmla="*/ 16 h 136"/>
                  <a:gd name="T24" fmla="*/ 114 w 120"/>
                  <a:gd name="T25" fmla="*/ 24 h 136"/>
                  <a:gd name="T26" fmla="*/ 114 w 120"/>
                  <a:gd name="T27" fmla="*/ 24 h 136"/>
                  <a:gd name="T28" fmla="*/ 118 w 120"/>
                  <a:gd name="T29" fmla="*/ 28 h 136"/>
                  <a:gd name="T30" fmla="*/ 120 w 120"/>
                  <a:gd name="T31" fmla="*/ 32 h 136"/>
                  <a:gd name="T32" fmla="*/ 120 w 120"/>
                  <a:gd name="T33" fmla="*/ 36 h 136"/>
                  <a:gd name="T34" fmla="*/ 120 w 120"/>
                  <a:gd name="T35" fmla="*/ 40 h 136"/>
                  <a:gd name="T36" fmla="*/ 114 w 120"/>
                  <a:gd name="T37" fmla="*/ 48 h 136"/>
                  <a:gd name="T38" fmla="*/ 102 w 120"/>
                  <a:gd name="T39" fmla="*/ 54 h 136"/>
                  <a:gd name="T40" fmla="*/ 102 w 120"/>
                  <a:gd name="T41" fmla="*/ 54 h 136"/>
                  <a:gd name="T42" fmla="*/ 96 w 120"/>
                  <a:gd name="T43" fmla="*/ 56 h 136"/>
                  <a:gd name="T44" fmla="*/ 90 w 120"/>
                  <a:gd name="T45" fmla="*/ 58 h 136"/>
                  <a:gd name="T46" fmla="*/ 78 w 120"/>
                  <a:gd name="T47" fmla="*/ 56 h 136"/>
                  <a:gd name="T48" fmla="*/ 70 w 120"/>
                  <a:gd name="T49" fmla="*/ 52 h 136"/>
                  <a:gd name="T50" fmla="*/ 68 w 120"/>
                  <a:gd name="T51" fmla="*/ 50 h 136"/>
                  <a:gd name="T52" fmla="*/ 64 w 120"/>
                  <a:gd name="T53" fmla="*/ 74 h 136"/>
                  <a:gd name="T54" fmla="*/ 64 w 120"/>
                  <a:gd name="T55" fmla="*/ 74 h 136"/>
                  <a:gd name="T56" fmla="*/ 72 w 120"/>
                  <a:gd name="T57" fmla="*/ 82 h 136"/>
                  <a:gd name="T58" fmla="*/ 80 w 120"/>
                  <a:gd name="T59" fmla="*/ 90 h 136"/>
                  <a:gd name="T60" fmla="*/ 84 w 120"/>
                  <a:gd name="T61" fmla="*/ 102 h 136"/>
                  <a:gd name="T62" fmla="*/ 84 w 120"/>
                  <a:gd name="T63" fmla="*/ 102 h 136"/>
                  <a:gd name="T64" fmla="*/ 86 w 120"/>
                  <a:gd name="T65" fmla="*/ 122 h 136"/>
                  <a:gd name="T66" fmla="*/ 86 w 120"/>
                  <a:gd name="T67" fmla="*/ 130 h 136"/>
                  <a:gd name="T68" fmla="*/ 84 w 120"/>
                  <a:gd name="T69" fmla="*/ 132 h 136"/>
                  <a:gd name="T70" fmla="*/ 82 w 120"/>
                  <a:gd name="T71" fmla="*/ 134 h 136"/>
                  <a:gd name="T72" fmla="*/ 82 w 120"/>
                  <a:gd name="T73" fmla="*/ 134 h 136"/>
                  <a:gd name="T74" fmla="*/ 78 w 120"/>
                  <a:gd name="T75" fmla="*/ 136 h 136"/>
                  <a:gd name="T76" fmla="*/ 70 w 120"/>
                  <a:gd name="T77" fmla="*/ 134 h 136"/>
                  <a:gd name="T78" fmla="*/ 50 w 120"/>
                  <a:gd name="T79" fmla="*/ 130 h 136"/>
                  <a:gd name="T80" fmla="*/ 28 w 120"/>
                  <a:gd name="T81" fmla="*/ 122 h 136"/>
                  <a:gd name="T82" fmla="*/ 18 w 120"/>
                  <a:gd name="T83" fmla="*/ 116 h 136"/>
                  <a:gd name="T84" fmla="*/ 12 w 120"/>
                  <a:gd name="T85" fmla="*/ 112 h 136"/>
                  <a:gd name="T86" fmla="*/ 12 w 120"/>
                  <a:gd name="T87" fmla="*/ 112 h 136"/>
                  <a:gd name="T88" fmla="*/ 6 w 120"/>
                  <a:gd name="T89" fmla="*/ 106 h 136"/>
                  <a:gd name="T90" fmla="*/ 2 w 120"/>
                  <a:gd name="T91" fmla="*/ 100 h 136"/>
                  <a:gd name="T92" fmla="*/ 0 w 120"/>
                  <a:gd name="T93" fmla="*/ 92 h 136"/>
                  <a:gd name="T94" fmla="*/ 0 w 120"/>
                  <a:gd name="T95" fmla="*/ 84 h 136"/>
                  <a:gd name="T96" fmla="*/ 0 w 120"/>
                  <a:gd name="T97" fmla="*/ 70 h 136"/>
                  <a:gd name="T98" fmla="*/ 2 w 120"/>
                  <a:gd name="T99" fmla="*/ 64 h 136"/>
                  <a:gd name="T100" fmla="*/ 6 w 120"/>
                  <a:gd name="T101" fmla="*/ 62 h 136"/>
                  <a:gd name="T102" fmla="*/ 6 w 120"/>
                  <a:gd name="T103" fmla="*/ 62 h 1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0"/>
                  <a:gd name="T157" fmla="*/ 0 h 136"/>
                  <a:gd name="T158" fmla="*/ 120 w 120"/>
                  <a:gd name="T159" fmla="*/ 136 h 1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0" h="136">
                    <a:moveTo>
                      <a:pt x="6" y="62"/>
                    </a:moveTo>
                    <a:lnTo>
                      <a:pt x="6" y="62"/>
                    </a:lnTo>
                    <a:lnTo>
                      <a:pt x="12" y="52"/>
                    </a:lnTo>
                    <a:lnTo>
                      <a:pt x="24" y="32"/>
                    </a:lnTo>
                    <a:lnTo>
                      <a:pt x="40" y="10"/>
                    </a:lnTo>
                    <a:lnTo>
                      <a:pt x="50" y="4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8" y="6"/>
                    </a:lnTo>
                    <a:lnTo>
                      <a:pt x="102" y="16"/>
                    </a:lnTo>
                    <a:lnTo>
                      <a:pt x="114" y="24"/>
                    </a:lnTo>
                    <a:lnTo>
                      <a:pt x="118" y="28"/>
                    </a:lnTo>
                    <a:lnTo>
                      <a:pt x="120" y="32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56"/>
                    </a:lnTo>
                    <a:lnTo>
                      <a:pt x="90" y="58"/>
                    </a:lnTo>
                    <a:lnTo>
                      <a:pt x="78" y="56"/>
                    </a:lnTo>
                    <a:lnTo>
                      <a:pt x="70" y="52"/>
                    </a:lnTo>
                    <a:lnTo>
                      <a:pt x="68" y="50"/>
                    </a:lnTo>
                    <a:lnTo>
                      <a:pt x="64" y="74"/>
                    </a:lnTo>
                    <a:lnTo>
                      <a:pt x="72" y="82"/>
                    </a:lnTo>
                    <a:lnTo>
                      <a:pt x="80" y="90"/>
                    </a:lnTo>
                    <a:lnTo>
                      <a:pt x="84" y="102"/>
                    </a:lnTo>
                    <a:lnTo>
                      <a:pt x="86" y="122"/>
                    </a:lnTo>
                    <a:lnTo>
                      <a:pt x="86" y="130"/>
                    </a:lnTo>
                    <a:lnTo>
                      <a:pt x="84" y="132"/>
                    </a:lnTo>
                    <a:lnTo>
                      <a:pt x="82" y="134"/>
                    </a:lnTo>
                    <a:lnTo>
                      <a:pt x="78" y="136"/>
                    </a:lnTo>
                    <a:lnTo>
                      <a:pt x="70" y="134"/>
                    </a:lnTo>
                    <a:lnTo>
                      <a:pt x="50" y="130"/>
                    </a:lnTo>
                    <a:lnTo>
                      <a:pt x="28" y="122"/>
                    </a:lnTo>
                    <a:lnTo>
                      <a:pt x="18" y="116"/>
                    </a:lnTo>
                    <a:lnTo>
                      <a:pt x="12" y="112"/>
                    </a:lnTo>
                    <a:lnTo>
                      <a:pt x="6" y="106"/>
                    </a:lnTo>
                    <a:lnTo>
                      <a:pt x="2" y="100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0"/>
                    </a:lnTo>
                    <a:lnTo>
                      <a:pt x="2" y="64"/>
                    </a:ln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8" name="Freeform 314"/>
              <p:cNvSpPr>
                <a:spLocks noEditPoints="1"/>
              </p:cNvSpPr>
              <p:nvPr/>
            </p:nvSpPr>
            <p:spPr bwMode="auto">
              <a:xfrm>
                <a:off x="3572" y="1659"/>
                <a:ext cx="128" cy="146"/>
              </a:xfrm>
              <a:custGeom>
                <a:avLst/>
                <a:gdLst>
                  <a:gd name="T0" fmla="*/ 12 w 128"/>
                  <a:gd name="T1" fmla="*/ 56 h 146"/>
                  <a:gd name="T2" fmla="*/ 6 w 128"/>
                  <a:gd name="T3" fmla="*/ 64 h 146"/>
                  <a:gd name="T4" fmla="*/ 2 w 128"/>
                  <a:gd name="T5" fmla="*/ 68 h 146"/>
                  <a:gd name="T6" fmla="*/ 0 w 128"/>
                  <a:gd name="T7" fmla="*/ 86 h 146"/>
                  <a:gd name="T8" fmla="*/ 0 w 128"/>
                  <a:gd name="T9" fmla="*/ 94 h 146"/>
                  <a:gd name="T10" fmla="*/ 2 w 128"/>
                  <a:gd name="T11" fmla="*/ 106 h 146"/>
                  <a:gd name="T12" fmla="*/ 14 w 128"/>
                  <a:gd name="T13" fmla="*/ 120 h 146"/>
                  <a:gd name="T14" fmla="*/ 20 w 128"/>
                  <a:gd name="T15" fmla="*/ 126 h 146"/>
                  <a:gd name="T16" fmla="*/ 50 w 128"/>
                  <a:gd name="T17" fmla="*/ 140 h 146"/>
                  <a:gd name="T18" fmla="*/ 78 w 128"/>
                  <a:gd name="T19" fmla="*/ 146 h 146"/>
                  <a:gd name="T20" fmla="*/ 84 w 128"/>
                  <a:gd name="T21" fmla="*/ 146 h 146"/>
                  <a:gd name="T22" fmla="*/ 90 w 128"/>
                  <a:gd name="T23" fmla="*/ 140 h 146"/>
                  <a:gd name="T24" fmla="*/ 94 w 128"/>
                  <a:gd name="T25" fmla="*/ 118 h 146"/>
                  <a:gd name="T26" fmla="*/ 92 w 128"/>
                  <a:gd name="T27" fmla="*/ 106 h 146"/>
                  <a:gd name="T28" fmla="*/ 92 w 128"/>
                  <a:gd name="T29" fmla="*/ 102 h 146"/>
                  <a:gd name="T30" fmla="*/ 82 w 128"/>
                  <a:gd name="T31" fmla="*/ 88 h 146"/>
                  <a:gd name="T32" fmla="*/ 72 w 128"/>
                  <a:gd name="T33" fmla="*/ 78 h 146"/>
                  <a:gd name="T34" fmla="*/ 74 w 128"/>
                  <a:gd name="T35" fmla="*/ 64 h 146"/>
                  <a:gd name="T36" fmla="*/ 88 w 128"/>
                  <a:gd name="T37" fmla="*/ 68 h 146"/>
                  <a:gd name="T38" fmla="*/ 108 w 128"/>
                  <a:gd name="T39" fmla="*/ 64 h 146"/>
                  <a:gd name="T40" fmla="*/ 116 w 128"/>
                  <a:gd name="T41" fmla="*/ 60 h 146"/>
                  <a:gd name="T42" fmla="*/ 126 w 128"/>
                  <a:gd name="T43" fmla="*/ 50 h 146"/>
                  <a:gd name="T44" fmla="*/ 128 w 128"/>
                  <a:gd name="T45" fmla="*/ 44 h 146"/>
                  <a:gd name="T46" fmla="*/ 128 w 128"/>
                  <a:gd name="T47" fmla="*/ 36 h 146"/>
                  <a:gd name="T48" fmla="*/ 120 w 128"/>
                  <a:gd name="T49" fmla="*/ 26 h 146"/>
                  <a:gd name="T50" fmla="*/ 98 w 128"/>
                  <a:gd name="T51" fmla="*/ 12 h 146"/>
                  <a:gd name="T52" fmla="*/ 80 w 128"/>
                  <a:gd name="T53" fmla="*/ 2 h 146"/>
                  <a:gd name="T54" fmla="*/ 60 w 128"/>
                  <a:gd name="T55" fmla="*/ 2 h 146"/>
                  <a:gd name="T56" fmla="*/ 54 w 128"/>
                  <a:gd name="T57" fmla="*/ 4 h 146"/>
                  <a:gd name="T58" fmla="*/ 36 w 128"/>
                  <a:gd name="T59" fmla="*/ 20 h 146"/>
                  <a:gd name="T60" fmla="*/ 12 w 128"/>
                  <a:gd name="T61" fmla="*/ 56 h 146"/>
                  <a:gd name="T62" fmla="*/ 20 w 128"/>
                  <a:gd name="T63" fmla="*/ 60 h 146"/>
                  <a:gd name="T64" fmla="*/ 40 w 128"/>
                  <a:gd name="T65" fmla="*/ 30 h 146"/>
                  <a:gd name="T66" fmla="*/ 56 w 128"/>
                  <a:gd name="T67" fmla="*/ 12 h 146"/>
                  <a:gd name="T68" fmla="*/ 62 w 128"/>
                  <a:gd name="T69" fmla="*/ 10 h 146"/>
                  <a:gd name="T70" fmla="*/ 76 w 128"/>
                  <a:gd name="T71" fmla="*/ 10 h 146"/>
                  <a:gd name="T72" fmla="*/ 104 w 128"/>
                  <a:gd name="T73" fmla="*/ 24 h 146"/>
                  <a:gd name="T74" fmla="*/ 116 w 128"/>
                  <a:gd name="T75" fmla="*/ 34 h 146"/>
                  <a:gd name="T76" fmla="*/ 120 w 128"/>
                  <a:gd name="T77" fmla="*/ 44 h 146"/>
                  <a:gd name="T78" fmla="*/ 118 w 128"/>
                  <a:gd name="T79" fmla="*/ 46 h 146"/>
                  <a:gd name="T80" fmla="*/ 104 w 128"/>
                  <a:gd name="T81" fmla="*/ 56 h 146"/>
                  <a:gd name="T82" fmla="*/ 100 w 128"/>
                  <a:gd name="T83" fmla="*/ 58 h 146"/>
                  <a:gd name="T84" fmla="*/ 84 w 128"/>
                  <a:gd name="T85" fmla="*/ 58 h 146"/>
                  <a:gd name="T86" fmla="*/ 68 w 128"/>
                  <a:gd name="T87" fmla="*/ 50 h 146"/>
                  <a:gd name="T88" fmla="*/ 62 w 128"/>
                  <a:gd name="T89" fmla="*/ 82 h 146"/>
                  <a:gd name="T90" fmla="*/ 64 w 128"/>
                  <a:gd name="T91" fmla="*/ 84 h 146"/>
                  <a:gd name="T92" fmla="*/ 80 w 128"/>
                  <a:gd name="T93" fmla="*/ 98 h 146"/>
                  <a:gd name="T94" fmla="*/ 84 w 128"/>
                  <a:gd name="T95" fmla="*/ 108 h 146"/>
                  <a:gd name="T96" fmla="*/ 86 w 128"/>
                  <a:gd name="T97" fmla="*/ 132 h 146"/>
                  <a:gd name="T98" fmla="*/ 84 w 128"/>
                  <a:gd name="T99" fmla="*/ 136 h 146"/>
                  <a:gd name="T100" fmla="*/ 54 w 128"/>
                  <a:gd name="T101" fmla="*/ 130 h 146"/>
                  <a:gd name="T102" fmla="*/ 26 w 128"/>
                  <a:gd name="T103" fmla="*/ 118 h 146"/>
                  <a:gd name="T104" fmla="*/ 18 w 128"/>
                  <a:gd name="T105" fmla="*/ 114 h 146"/>
                  <a:gd name="T106" fmla="*/ 18 w 128"/>
                  <a:gd name="T107" fmla="*/ 114 h 146"/>
                  <a:gd name="T108" fmla="*/ 12 w 128"/>
                  <a:gd name="T109" fmla="*/ 104 h 146"/>
                  <a:gd name="T110" fmla="*/ 8 w 128"/>
                  <a:gd name="T111" fmla="*/ 90 h 146"/>
                  <a:gd name="T112" fmla="*/ 10 w 128"/>
                  <a:gd name="T113" fmla="*/ 76 h 146"/>
                  <a:gd name="T114" fmla="*/ 12 w 128"/>
                  <a:gd name="T115" fmla="*/ 72 h 146"/>
                  <a:gd name="T116" fmla="*/ 20 w 128"/>
                  <a:gd name="T117" fmla="*/ 60 h 146"/>
                  <a:gd name="T118" fmla="*/ 14 w 128"/>
                  <a:gd name="T119" fmla="*/ 122 h 146"/>
                  <a:gd name="T120" fmla="*/ 14 w 128"/>
                  <a:gd name="T121" fmla="*/ 120 h 146"/>
                  <a:gd name="T122" fmla="*/ 12 w 128"/>
                  <a:gd name="T123" fmla="*/ 120 h 1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28"/>
                  <a:gd name="T187" fmla="*/ 0 h 146"/>
                  <a:gd name="T188" fmla="*/ 128 w 128"/>
                  <a:gd name="T189" fmla="*/ 146 h 14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28" h="146">
                    <a:moveTo>
                      <a:pt x="12" y="56"/>
                    </a:moveTo>
                    <a:lnTo>
                      <a:pt x="12" y="56"/>
                    </a:lnTo>
                    <a:lnTo>
                      <a:pt x="6" y="64"/>
                    </a:lnTo>
                    <a:lnTo>
                      <a:pt x="2" y="68"/>
                    </a:lnTo>
                    <a:lnTo>
                      <a:pt x="0" y="74"/>
                    </a:lnTo>
                    <a:lnTo>
                      <a:pt x="0" y="86"/>
                    </a:lnTo>
                    <a:lnTo>
                      <a:pt x="0" y="94"/>
                    </a:lnTo>
                    <a:lnTo>
                      <a:pt x="2" y="106"/>
                    </a:lnTo>
                    <a:lnTo>
                      <a:pt x="6" y="114"/>
                    </a:lnTo>
                    <a:lnTo>
                      <a:pt x="14" y="120"/>
                    </a:lnTo>
                    <a:lnTo>
                      <a:pt x="20" y="126"/>
                    </a:lnTo>
                    <a:lnTo>
                      <a:pt x="28" y="130"/>
                    </a:lnTo>
                    <a:lnTo>
                      <a:pt x="50" y="140"/>
                    </a:lnTo>
                    <a:lnTo>
                      <a:pt x="70" y="146"/>
                    </a:lnTo>
                    <a:lnTo>
                      <a:pt x="78" y="146"/>
                    </a:lnTo>
                    <a:lnTo>
                      <a:pt x="84" y="146"/>
                    </a:lnTo>
                    <a:lnTo>
                      <a:pt x="86" y="142"/>
                    </a:lnTo>
                    <a:lnTo>
                      <a:pt x="90" y="140"/>
                    </a:lnTo>
                    <a:lnTo>
                      <a:pt x="92" y="130"/>
                    </a:lnTo>
                    <a:lnTo>
                      <a:pt x="94" y="118"/>
                    </a:lnTo>
                    <a:lnTo>
                      <a:pt x="92" y="106"/>
                    </a:lnTo>
                    <a:lnTo>
                      <a:pt x="92" y="102"/>
                    </a:lnTo>
                    <a:lnTo>
                      <a:pt x="88" y="94"/>
                    </a:lnTo>
                    <a:lnTo>
                      <a:pt x="82" y="88"/>
                    </a:lnTo>
                    <a:lnTo>
                      <a:pt x="72" y="78"/>
                    </a:lnTo>
                    <a:lnTo>
                      <a:pt x="74" y="64"/>
                    </a:lnTo>
                    <a:lnTo>
                      <a:pt x="80" y="66"/>
                    </a:lnTo>
                    <a:lnTo>
                      <a:pt x="88" y="68"/>
                    </a:lnTo>
                    <a:lnTo>
                      <a:pt x="98" y="68"/>
                    </a:lnTo>
                    <a:lnTo>
                      <a:pt x="108" y="64"/>
                    </a:lnTo>
                    <a:lnTo>
                      <a:pt x="116" y="60"/>
                    </a:lnTo>
                    <a:lnTo>
                      <a:pt x="122" y="56"/>
                    </a:lnTo>
                    <a:lnTo>
                      <a:pt x="126" y="50"/>
                    </a:lnTo>
                    <a:lnTo>
                      <a:pt x="128" y="44"/>
                    </a:lnTo>
                    <a:lnTo>
                      <a:pt x="128" y="40"/>
                    </a:lnTo>
                    <a:lnTo>
                      <a:pt x="128" y="36"/>
                    </a:lnTo>
                    <a:lnTo>
                      <a:pt x="120" y="26"/>
                    </a:lnTo>
                    <a:lnTo>
                      <a:pt x="114" y="20"/>
                    </a:lnTo>
                    <a:lnTo>
                      <a:pt x="98" y="12"/>
                    </a:lnTo>
                    <a:lnTo>
                      <a:pt x="90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60" y="2"/>
                    </a:lnTo>
                    <a:lnTo>
                      <a:pt x="54" y="4"/>
                    </a:lnTo>
                    <a:lnTo>
                      <a:pt x="48" y="8"/>
                    </a:lnTo>
                    <a:lnTo>
                      <a:pt x="36" y="20"/>
                    </a:lnTo>
                    <a:lnTo>
                      <a:pt x="24" y="36"/>
                    </a:lnTo>
                    <a:lnTo>
                      <a:pt x="12" y="56"/>
                    </a:lnTo>
                    <a:close/>
                    <a:moveTo>
                      <a:pt x="20" y="60"/>
                    </a:moveTo>
                    <a:lnTo>
                      <a:pt x="20" y="60"/>
                    </a:lnTo>
                    <a:lnTo>
                      <a:pt x="40" y="30"/>
                    </a:lnTo>
                    <a:lnTo>
                      <a:pt x="50" y="16"/>
                    </a:lnTo>
                    <a:lnTo>
                      <a:pt x="56" y="12"/>
                    </a:lnTo>
                    <a:lnTo>
                      <a:pt x="62" y="10"/>
                    </a:lnTo>
                    <a:lnTo>
                      <a:pt x="68" y="10"/>
                    </a:lnTo>
                    <a:lnTo>
                      <a:pt x="76" y="10"/>
                    </a:lnTo>
                    <a:lnTo>
                      <a:pt x="90" y="16"/>
                    </a:lnTo>
                    <a:lnTo>
                      <a:pt x="104" y="24"/>
                    </a:lnTo>
                    <a:lnTo>
                      <a:pt x="116" y="34"/>
                    </a:lnTo>
                    <a:lnTo>
                      <a:pt x="118" y="38"/>
                    </a:lnTo>
                    <a:lnTo>
                      <a:pt x="120" y="44"/>
                    </a:lnTo>
                    <a:lnTo>
                      <a:pt x="118" y="46"/>
                    </a:lnTo>
                    <a:lnTo>
                      <a:pt x="116" y="50"/>
                    </a:lnTo>
                    <a:lnTo>
                      <a:pt x="104" y="56"/>
                    </a:lnTo>
                    <a:lnTo>
                      <a:pt x="100" y="58"/>
                    </a:lnTo>
                    <a:lnTo>
                      <a:pt x="94" y="58"/>
                    </a:lnTo>
                    <a:lnTo>
                      <a:pt x="84" y="58"/>
                    </a:lnTo>
                    <a:lnTo>
                      <a:pt x="74" y="54"/>
                    </a:lnTo>
                    <a:lnTo>
                      <a:pt x="68" y="50"/>
                    </a:lnTo>
                    <a:lnTo>
                      <a:pt x="66" y="56"/>
                    </a:lnTo>
                    <a:lnTo>
                      <a:pt x="62" y="82"/>
                    </a:lnTo>
                    <a:lnTo>
                      <a:pt x="64" y="84"/>
                    </a:lnTo>
                    <a:lnTo>
                      <a:pt x="74" y="90"/>
                    </a:lnTo>
                    <a:lnTo>
                      <a:pt x="80" y="98"/>
                    </a:lnTo>
                    <a:lnTo>
                      <a:pt x="84" y="108"/>
                    </a:lnTo>
                    <a:lnTo>
                      <a:pt x="86" y="124"/>
                    </a:lnTo>
                    <a:lnTo>
                      <a:pt x="86" y="132"/>
                    </a:lnTo>
                    <a:lnTo>
                      <a:pt x="84" y="136"/>
                    </a:lnTo>
                    <a:lnTo>
                      <a:pt x="74" y="136"/>
                    </a:lnTo>
                    <a:lnTo>
                      <a:pt x="54" y="130"/>
                    </a:lnTo>
                    <a:lnTo>
                      <a:pt x="34" y="124"/>
                    </a:lnTo>
                    <a:lnTo>
                      <a:pt x="26" y="118"/>
                    </a:lnTo>
                    <a:lnTo>
                      <a:pt x="18" y="114"/>
                    </a:lnTo>
                    <a:lnTo>
                      <a:pt x="14" y="110"/>
                    </a:lnTo>
                    <a:lnTo>
                      <a:pt x="12" y="104"/>
                    </a:lnTo>
                    <a:lnTo>
                      <a:pt x="8" y="98"/>
                    </a:lnTo>
                    <a:lnTo>
                      <a:pt x="8" y="90"/>
                    </a:lnTo>
                    <a:lnTo>
                      <a:pt x="10" y="76"/>
                    </a:lnTo>
                    <a:lnTo>
                      <a:pt x="12" y="72"/>
                    </a:lnTo>
                    <a:lnTo>
                      <a:pt x="20" y="60"/>
                    </a:lnTo>
                    <a:close/>
                    <a:moveTo>
                      <a:pt x="14" y="122"/>
                    </a:moveTo>
                    <a:lnTo>
                      <a:pt x="14" y="122"/>
                    </a:lnTo>
                    <a:lnTo>
                      <a:pt x="14" y="120"/>
                    </a:lnTo>
                    <a:lnTo>
                      <a:pt x="12" y="120"/>
                    </a:lnTo>
                    <a:lnTo>
                      <a:pt x="14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9" name="Freeform 315"/>
              <p:cNvSpPr>
                <a:spLocks/>
              </p:cNvSpPr>
              <p:nvPr/>
            </p:nvSpPr>
            <p:spPr bwMode="auto">
              <a:xfrm>
                <a:off x="3568" y="1667"/>
                <a:ext cx="128" cy="146"/>
              </a:xfrm>
              <a:custGeom>
                <a:avLst/>
                <a:gdLst>
                  <a:gd name="T0" fmla="*/ 2 w 128"/>
                  <a:gd name="T1" fmla="*/ 72 h 146"/>
                  <a:gd name="T2" fmla="*/ 2 w 128"/>
                  <a:gd name="T3" fmla="*/ 72 h 146"/>
                  <a:gd name="T4" fmla="*/ 28 w 128"/>
                  <a:gd name="T5" fmla="*/ 36 h 146"/>
                  <a:gd name="T6" fmla="*/ 48 w 128"/>
                  <a:gd name="T7" fmla="*/ 14 h 146"/>
                  <a:gd name="T8" fmla="*/ 58 w 128"/>
                  <a:gd name="T9" fmla="*/ 4 h 146"/>
                  <a:gd name="T10" fmla="*/ 66 w 128"/>
                  <a:gd name="T11" fmla="*/ 0 h 146"/>
                  <a:gd name="T12" fmla="*/ 66 w 128"/>
                  <a:gd name="T13" fmla="*/ 0 h 146"/>
                  <a:gd name="T14" fmla="*/ 74 w 128"/>
                  <a:gd name="T15" fmla="*/ 0 h 146"/>
                  <a:gd name="T16" fmla="*/ 82 w 128"/>
                  <a:gd name="T17" fmla="*/ 2 h 146"/>
                  <a:gd name="T18" fmla="*/ 98 w 128"/>
                  <a:gd name="T19" fmla="*/ 6 h 146"/>
                  <a:gd name="T20" fmla="*/ 112 w 128"/>
                  <a:gd name="T21" fmla="*/ 14 h 146"/>
                  <a:gd name="T22" fmla="*/ 122 w 128"/>
                  <a:gd name="T23" fmla="*/ 22 h 146"/>
                  <a:gd name="T24" fmla="*/ 122 w 128"/>
                  <a:gd name="T25" fmla="*/ 22 h 146"/>
                  <a:gd name="T26" fmla="*/ 126 w 128"/>
                  <a:gd name="T27" fmla="*/ 26 h 146"/>
                  <a:gd name="T28" fmla="*/ 128 w 128"/>
                  <a:gd name="T29" fmla="*/ 30 h 146"/>
                  <a:gd name="T30" fmla="*/ 128 w 128"/>
                  <a:gd name="T31" fmla="*/ 34 h 146"/>
                  <a:gd name="T32" fmla="*/ 128 w 128"/>
                  <a:gd name="T33" fmla="*/ 38 h 146"/>
                  <a:gd name="T34" fmla="*/ 122 w 128"/>
                  <a:gd name="T35" fmla="*/ 44 h 146"/>
                  <a:gd name="T36" fmla="*/ 110 w 128"/>
                  <a:gd name="T37" fmla="*/ 50 h 146"/>
                  <a:gd name="T38" fmla="*/ 110 w 128"/>
                  <a:gd name="T39" fmla="*/ 50 h 146"/>
                  <a:gd name="T40" fmla="*/ 104 w 128"/>
                  <a:gd name="T41" fmla="*/ 52 h 146"/>
                  <a:gd name="T42" fmla="*/ 98 w 128"/>
                  <a:gd name="T43" fmla="*/ 52 h 146"/>
                  <a:gd name="T44" fmla="*/ 86 w 128"/>
                  <a:gd name="T45" fmla="*/ 50 h 146"/>
                  <a:gd name="T46" fmla="*/ 78 w 128"/>
                  <a:gd name="T47" fmla="*/ 48 h 146"/>
                  <a:gd name="T48" fmla="*/ 74 w 128"/>
                  <a:gd name="T49" fmla="*/ 46 h 146"/>
                  <a:gd name="T50" fmla="*/ 68 w 128"/>
                  <a:gd name="T51" fmla="*/ 72 h 146"/>
                  <a:gd name="T52" fmla="*/ 68 w 128"/>
                  <a:gd name="T53" fmla="*/ 72 h 146"/>
                  <a:gd name="T54" fmla="*/ 78 w 128"/>
                  <a:gd name="T55" fmla="*/ 80 h 146"/>
                  <a:gd name="T56" fmla="*/ 86 w 128"/>
                  <a:gd name="T57" fmla="*/ 90 h 146"/>
                  <a:gd name="T58" fmla="*/ 88 w 128"/>
                  <a:gd name="T59" fmla="*/ 96 h 146"/>
                  <a:gd name="T60" fmla="*/ 90 w 128"/>
                  <a:gd name="T61" fmla="*/ 102 h 146"/>
                  <a:gd name="T62" fmla="*/ 90 w 128"/>
                  <a:gd name="T63" fmla="*/ 102 h 146"/>
                  <a:gd name="T64" fmla="*/ 92 w 128"/>
                  <a:gd name="T65" fmla="*/ 114 h 146"/>
                  <a:gd name="T66" fmla="*/ 92 w 128"/>
                  <a:gd name="T67" fmla="*/ 128 h 146"/>
                  <a:gd name="T68" fmla="*/ 92 w 128"/>
                  <a:gd name="T69" fmla="*/ 138 h 146"/>
                  <a:gd name="T70" fmla="*/ 90 w 128"/>
                  <a:gd name="T71" fmla="*/ 142 h 146"/>
                  <a:gd name="T72" fmla="*/ 88 w 128"/>
                  <a:gd name="T73" fmla="*/ 144 h 146"/>
                  <a:gd name="T74" fmla="*/ 88 w 128"/>
                  <a:gd name="T75" fmla="*/ 144 h 146"/>
                  <a:gd name="T76" fmla="*/ 84 w 128"/>
                  <a:gd name="T77" fmla="*/ 146 h 146"/>
                  <a:gd name="T78" fmla="*/ 76 w 128"/>
                  <a:gd name="T79" fmla="*/ 146 h 146"/>
                  <a:gd name="T80" fmla="*/ 58 w 128"/>
                  <a:gd name="T81" fmla="*/ 142 h 146"/>
                  <a:gd name="T82" fmla="*/ 36 w 128"/>
                  <a:gd name="T83" fmla="*/ 136 h 146"/>
                  <a:gd name="T84" fmla="*/ 28 w 128"/>
                  <a:gd name="T85" fmla="*/ 130 h 146"/>
                  <a:gd name="T86" fmla="*/ 22 w 128"/>
                  <a:gd name="T87" fmla="*/ 126 h 146"/>
                  <a:gd name="T88" fmla="*/ 22 w 128"/>
                  <a:gd name="T89" fmla="*/ 126 h 146"/>
                  <a:gd name="T90" fmla="*/ 16 w 128"/>
                  <a:gd name="T91" fmla="*/ 122 h 146"/>
                  <a:gd name="T92" fmla="*/ 10 w 128"/>
                  <a:gd name="T93" fmla="*/ 114 h 146"/>
                  <a:gd name="T94" fmla="*/ 4 w 128"/>
                  <a:gd name="T95" fmla="*/ 100 h 146"/>
                  <a:gd name="T96" fmla="*/ 0 w 128"/>
                  <a:gd name="T97" fmla="*/ 88 h 146"/>
                  <a:gd name="T98" fmla="*/ 0 w 128"/>
                  <a:gd name="T99" fmla="*/ 84 h 146"/>
                  <a:gd name="T100" fmla="*/ 2 w 128"/>
                  <a:gd name="T101" fmla="*/ 80 h 146"/>
                  <a:gd name="T102" fmla="*/ 2 w 128"/>
                  <a:gd name="T103" fmla="*/ 72 h 14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8"/>
                  <a:gd name="T157" fmla="*/ 0 h 146"/>
                  <a:gd name="T158" fmla="*/ 128 w 128"/>
                  <a:gd name="T159" fmla="*/ 146 h 14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8" h="146">
                    <a:moveTo>
                      <a:pt x="2" y="72"/>
                    </a:moveTo>
                    <a:lnTo>
                      <a:pt x="2" y="72"/>
                    </a:lnTo>
                    <a:lnTo>
                      <a:pt x="28" y="36"/>
                    </a:lnTo>
                    <a:lnTo>
                      <a:pt x="48" y="14"/>
                    </a:lnTo>
                    <a:lnTo>
                      <a:pt x="58" y="4"/>
                    </a:lnTo>
                    <a:lnTo>
                      <a:pt x="66" y="0"/>
                    </a:lnTo>
                    <a:lnTo>
                      <a:pt x="74" y="0"/>
                    </a:lnTo>
                    <a:lnTo>
                      <a:pt x="82" y="2"/>
                    </a:lnTo>
                    <a:lnTo>
                      <a:pt x="98" y="6"/>
                    </a:lnTo>
                    <a:lnTo>
                      <a:pt x="112" y="14"/>
                    </a:lnTo>
                    <a:lnTo>
                      <a:pt x="122" y="22"/>
                    </a:lnTo>
                    <a:lnTo>
                      <a:pt x="126" y="26"/>
                    </a:lnTo>
                    <a:lnTo>
                      <a:pt x="128" y="30"/>
                    </a:lnTo>
                    <a:lnTo>
                      <a:pt x="128" y="34"/>
                    </a:lnTo>
                    <a:lnTo>
                      <a:pt x="128" y="38"/>
                    </a:lnTo>
                    <a:lnTo>
                      <a:pt x="122" y="44"/>
                    </a:lnTo>
                    <a:lnTo>
                      <a:pt x="110" y="50"/>
                    </a:lnTo>
                    <a:lnTo>
                      <a:pt x="104" y="52"/>
                    </a:lnTo>
                    <a:lnTo>
                      <a:pt x="98" y="52"/>
                    </a:lnTo>
                    <a:lnTo>
                      <a:pt x="86" y="50"/>
                    </a:lnTo>
                    <a:lnTo>
                      <a:pt x="78" y="48"/>
                    </a:lnTo>
                    <a:lnTo>
                      <a:pt x="74" y="46"/>
                    </a:lnTo>
                    <a:lnTo>
                      <a:pt x="68" y="72"/>
                    </a:lnTo>
                    <a:lnTo>
                      <a:pt x="78" y="80"/>
                    </a:lnTo>
                    <a:lnTo>
                      <a:pt x="86" y="90"/>
                    </a:lnTo>
                    <a:lnTo>
                      <a:pt x="88" y="96"/>
                    </a:lnTo>
                    <a:lnTo>
                      <a:pt x="90" y="102"/>
                    </a:lnTo>
                    <a:lnTo>
                      <a:pt x="92" y="114"/>
                    </a:lnTo>
                    <a:lnTo>
                      <a:pt x="92" y="128"/>
                    </a:lnTo>
                    <a:lnTo>
                      <a:pt x="92" y="138"/>
                    </a:lnTo>
                    <a:lnTo>
                      <a:pt x="90" y="142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76" y="146"/>
                    </a:lnTo>
                    <a:lnTo>
                      <a:pt x="58" y="142"/>
                    </a:lnTo>
                    <a:lnTo>
                      <a:pt x="36" y="136"/>
                    </a:lnTo>
                    <a:lnTo>
                      <a:pt x="28" y="130"/>
                    </a:lnTo>
                    <a:lnTo>
                      <a:pt x="22" y="126"/>
                    </a:lnTo>
                    <a:lnTo>
                      <a:pt x="16" y="122"/>
                    </a:lnTo>
                    <a:lnTo>
                      <a:pt x="10" y="114"/>
                    </a:lnTo>
                    <a:lnTo>
                      <a:pt x="4" y="100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0"/>
                    </a:lnTo>
                    <a:lnTo>
                      <a:pt x="2" y="7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" name="Group 177"/>
            <p:cNvGrpSpPr>
              <a:grpSpLocks/>
            </p:cNvGrpSpPr>
            <p:nvPr/>
          </p:nvGrpSpPr>
          <p:grpSpPr bwMode="auto">
            <a:xfrm rot="2643955">
              <a:off x="4986" y="2347"/>
              <a:ext cx="546" cy="519"/>
              <a:chOff x="3476" y="1493"/>
              <a:chExt cx="268" cy="378"/>
            </a:xfrm>
          </p:grpSpPr>
          <p:sp>
            <p:nvSpPr>
              <p:cNvPr id="126" name="Rectangle 165"/>
              <p:cNvSpPr>
                <a:spLocks noChangeArrowheads="1"/>
              </p:cNvSpPr>
              <p:nvPr/>
            </p:nvSpPr>
            <p:spPr bwMode="auto">
              <a:xfrm>
                <a:off x="3526" y="1787"/>
                <a:ext cx="1" cy="1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7" name="Freeform 166"/>
              <p:cNvSpPr>
                <a:spLocks/>
              </p:cNvSpPr>
              <p:nvPr/>
            </p:nvSpPr>
            <p:spPr bwMode="auto">
              <a:xfrm>
                <a:off x="3566" y="1791"/>
                <a:ext cx="142" cy="80"/>
              </a:xfrm>
              <a:custGeom>
                <a:avLst/>
                <a:gdLst>
                  <a:gd name="T0" fmla="*/ 76 w 142"/>
                  <a:gd name="T1" fmla="*/ 2 h 80"/>
                  <a:gd name="T2" fmla="*/ 76 w 142"/>
                  <a:gd name="T3" fmla="*/ 2 h 80"/>
                  <a:gd name="T4" fmla="*/ 90 w 142"/>
                  <a:gd name="T5" fmla="*/ 4 h 80"/>
                  <a:gd name="T6" fmla="*/ 104 w 142"/>
                  <a:gd name="T7" fmla="*/ 8 h 80"/>
                  <a:gd name="T8" fmla="*/ 114 w 142"/>
                  <a:gd name="T9" fmla="*/ 14 h 80"/>
                  <a:gd name="T10" fmla="*/ 124 w 142"/>
                  <a:gd name="T11" fmla="*/ 20 h 80"/>
                  <a:gd name="T12" fmla="*/ 132 w 142"/>
                  <a:gd name="T13" fmla="*/ 26 h 80"/>
                  <a:gd name="T14" fmla="*/ 138 w 142"/>
                  <a:gd name="T15" fmla="*/ 34 h 80"/>
                  <a:gd name="T16" fmla="*/ 142 w 142"/>
                  <a:gd name="T17" fmla="*/ 42 h 80"/>
                  <a:gd name="T18" fmla="*/ 142 w 142"/>
                  <a:gd name="T19" fmla="*/ 50 h 80"/>
                  <a:gd name="T20" fmla="*/ 142 w 142"/>
                  <a:gd name="T21" fmla="*/ 50 h 80"/>
                  <a:gd name="T22" fmla="*/ 138 w 142"/>
                  <a:gd name="T23" fmla="*/ 58 h 80"/>
                  <a:gd name="T24" fmla="*/ 134 w 142"/>
                  <a:gd name="T25" fmla="*/ 64 h 80"/>
                  <a:gd name="T26" fmla="*/ 126 w 142"/>
                  <a:gd name="T27" fmla="*/ 70 h 80"/>
                  <a:gd name="T28" fmla="*/ 116 w 142"/>
                  <a:gd name="T29" fmla="*/ 74 h 80"/>
                  <a:gd name="T30" fmla="*/ 106 w 142"/>
                  <a:gd name="T31" fmla="*/ 78 h 80"/>
                  <a:gd name="T32" fmla="*/ 94 w 142"/>
                  <a:gd name="T33" fmla="*/ 80 h 80"/>
                  <a:gd name="T34" fmla="*/ 80 w 142"/>
                  <a:gd name="T35" fmla="*/ 80 h 80"/>
                  <a:gd name="T36" fmla="*/ 66 w 142"/>
                  <a:gd name="T37" fmla="*/ 80 h 80"/>
                  <a:gd name="T38" fmla="*/ 66 w 142"/>
                  <a:gd name="T39" fmla="*/ 80 h 80"/>
                  <a:gd name="T40" fmla="*/ 52 w 142"/>
                  <a:gd name="T41" fmla="*/ 76 h 80"/>
                  <a:gd name="T42" fmla="*/ 38 w 142"/>
                  <a:gd name="T43" fmla="*/ 72 h 80"/>
                  <a:gd name="T44" fmla="*/ 28 w 142"/>
                  <a:gd name="T45" fmla="*/ 68 h 80"/>
                  <a:gd name="T46" fmla="*/ 18 w 142"/>
                  <a:gd name="T47" fmla="*/ 62 h 80"/>
                  <a:gd name="T48" fmla="*/ 10 w 142"/>
                  <a:gd name="T49" fmla="*/ 54 h 80"/>
                  <a:gd name="T50" fmla="*/ 4 w 142"/>
                  <a:gd name="T51" fmla="*/ 48 h 80"/>
                  <a:gd name="T52" fmla="*/ 0 w 142"/>
                  <a:gd name="T53" fmla="*/ 40 h 80"/>
                  <a:gd name="T54" fmla="*/ 0 w 142"/>
                  <a:gd name="T55" fmla="*/ 32 h 80"/>
                  <a:gd name="T56" fmla="*/ 0 w 142"/>
                  <a:gd name="T57" fmla="*/ 32 h 80"/>
                  <a:gd name="T58" fmla="*/ 2 w 142"/>
                  <a:gd name="T59" fmla="*/ 24 h 80"/>
                  <a:gd name="T60" fmla="*/ 8 w 142"/>
                  <a:gd name="T61" fmla="*/ 18 h 80"/>
                  <a:gd name="T62" fmla="*/ 16 w 142"/>
                  <a:gd name="T63" fmla="*/ 12 h 80"/>
                  <a:gd name="T64" fmla="*/ 24 w 142"/>
                  <a:gd name="T65" fmla="*/ 6 h 80"/>
                  <a:gd name="T66" fmla="*/ 36 w 142"/>
                  <a:gd name="T67" fmla="*/ 4 h 80"/>
                  <a:gd name="T68" fmla="*/ 48 w 142"/>
                  <a:gd name="T69" fmla="*/ 2 h 80"/>
                  <a:gd name="T70" fmla="*/ 62 w 142"/>
                  <a:gd name="T71" fmla="*/ 0 h 80"/>
                  <a:gd name="T72" fmla="*/ 76 w 142"/>
                  <a:gd name="T73" fmla="*/ 2 h 80"/>
                  <a:gd name="T74" fmla="*/ 76 w 142"/>
                  <a:gd name="T75" fmla="*/ 2 h 8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2"/>
                  <a:gd name="T115" fmla="*/ 0 h 80"/>
                  <a:gd name="T116" fmla="*/ 142 w 142"/>
                  <a:gd name="T117" fmla="*/ 80 h 8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2" h="80">
                    <a:moveTo>
                      <a:pt x="76" y="2"/>
                    </a:moveTo>
                    <a:lnTo>
                      <a:pt x="76" y="2"/>
                    </a:lnTo>
                    <a:lnTo>
                      <a:pt x="90" y="4"/>
                    </a:lnTo>
                    <a:lnTo>
                      <a:pt x="104" y="8"/>
                    </a:lnTo>
                    <a:lnTo>
                      <a:pt x="114" y="14"/>
                    </a:lnTo>
                    <a:lnTo>
                      <a:pt x="124" y="20"/>
                    </a:lnTo>
                    <a:lnTo>
                      <a:pt x="132" y="26"/>
                    </a:lnTo>
                    <a:lnTo>
                      <a:pt x="138" y="34"/>
                    </a:lnTo>
                    <a:lnTo>
                      <a:pt x="142" y="42"/>
                    </a:lnTo>
                    <a:lnTo>
                      <a:pt x="142" y="50"/>
                    </a:lnTo>
                    <a:lnTo>
                      <a:pt x="138" y="58"/>
                    </a:lnTo>
                    <a:lnTo>
                      <a:pt x="134" y="64"/>
                    </a:lnTo>
                    <a:lnTo>
                      <a:pt x="126" y="70"/>
                    </a:lnTo>
                    <a:lnTo>
                      <a:pt x="116" y="74"/>
                    </a:lnTo>
                    <a:lnTo>
                      <a:pt x="106" y="78"/>
                    </a:lnTo>
                    <a:lnTo>
                      <a:pt x="94" y="80"/>
                    </a:lnTo>
                    <a:lnTo>
                      <a:pt x="80" y="80"/>
                    </a:lnTo>
                    <a:lnTo>
                      <a:pt x="66" y="80"/>
                    </a:lnTo>
                    <a:lnTo>
                      <a:pt x="52" y="76"/>
                    </a:lnTo>
                    <a:lnTo>
                      <a:pt x="38" y="72"/>
                    </a:lnTo>
                    <a:lnTo>
                      <a:pt x="28" y="68"/>
                    </a:lnTo>
                    <a:lnTo>
                      <a:pt x="18" y="62"/>
                    </a:lnTo>
                    <a:lnTo>
                      <a:pt x="10" y="54"/>
                    </a:lnTo>
                    <a:lnTo>
                      <a:pt x="4" y="48"/>
                    </a:lnTo>
                    <a:lnTo>
                      <a:pt x="0" y="40"/>
                    </a:lnTo>
                    <a:lnTo>
                      <a:pt x="0" y="32"/>
                    </a:lnTo>
                    <a:lnTo>
                      <a:pt x="2" y="24"/>
                    </a:lnTo>
                    <a:lnTo>
                      <a:pt x="8" y="18"/>
                    </a:lnTo>
                    <a:lnTo>
                      <a:pt x="16" y="12"/>
                    </a:lnTo>
                    <a:lnTo>
                      <a:pt x="24" y="6"/>
                    </a:lnTo>
                    <a:lnTo>
                      <a:pt x="36" y="4"/>
                    </a:lnTo>
                    <a:lnTo>
                      <a:pt x="48" y="2"/>
                    </a:lnTo>
                    <a:lnTo>
                      <a:pt x="62" y="0"/>
                    </a:lnTo>
                    <a:lnTo>
                      <a:pt x="76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8" name="Freeform 167"/>
              <p:cNvSpPr>
                <a:spLocks/>
              </p:cNvSpPr>
              <p:nvPr/>
            </p:nvSpPr>
            <p:spPr bwMode="auto">
              <a:xfrm>
                <a:off x="3582" y="1799"/>
                <a:ext cx="110" cy="64"/>
              </a:xfrm>
              <a:custGeom>
                <a:avLst/>
                <a:gdLst>
                  <a:gd name="T0" fmla="*/ 58 w 110"/>
                  <a:gd name="T1" fmla="*/ 2 h 64"/>
                  <a:gd name="T2" fmla="*/ 58 w 110"/>
                  <a:gd name="T3" fmla="*/ 2 h 64"/>
                  <a:gd name="T4" fmla="*/ 70 w 110"/>
                  <a:gd name="T5" fmla="*/ 4 h 64"/>
                  <a:gd name="T6" fmla="*/ 80 w 110"/>
                  <a:gd name="T7" fmla="*/ 6 h 64"/>
                  <a:gd name="T8" fmla="*/ 88 w 110"/>
                  <a:gd name="T9" fmla="*/ 12 h 64"/>
                  <a:gd name="T10" fmla="*/ 96 w 110"/>
                  <a:gd name="T11" fmla="*/ 16 h 64"/>
                  <a:gd name="T12" fmla="*/ 102 w 110"/>
                  <a:gd name="T13" fmla="*/ 22 h 64"/>
                  <a:gd name="T14" fmla="*/ 108 w 110"/>
                  <a:gd name="T15" fmla="*/ 28 h 64"/>
                  <a:gd name="T16" fmla="*/ 110 w 110"/>
                  <a:gd name="T17" fmla="*/ 34 h 64"/>
                  <a:gd name="T18" fmla="*/ 110 w 110"/>
                  <a:gd name="T19" fmla="*/ 40 h 64"/>
                  <a:gd name="T20" fmla="*/ 110 w 110"/>
                  <a:gd name="T21" fmla="*/ 40 h 64"/>
                  <a:gd name="T22" fmla="*/ 108 w 110"/>
                  <a:gd name="T23" fmla="*/ 46 h 64"/>
                  <a:gd name="T24" fmla="*/ 104 w 110"/>
                  <a:gd name="T25" fmla="*/ 52 h 64"/>
                  <a:gd name="T26" fmla="*/ 98 w 110"/>
                  <a:gd name="T27" fmla="*/ 56 h 64"/>
                  <a:gd name="T28" fmla="*/ 92 w 110"/>
                  <a:gd name="T29" fmla="*/ 60 h 64"/>
                  <a:gd name="T30" fmla="*/ 82 w 110"/>
                  <a:gd name="T31" fmla="*/ 62 h 64"/>
                  <a:gd name="T32" fmla="*/ 72 w 110"/>
                  <a:gd name="T33" fmla="*/ 64 h 64"/>
                  <a:gd name="T34" fmla="*/ 62 w 110"/>
                  <a:gd name="T35" fmla="*/ 64 h 64"/>
                  <a:gd name="T36" fmla="*/ 52 w 110"/>
                  <a:gd name="T37" fmla="*/ 64 h 64"/>
                  <a:gd name="T38" fmla="*/ 52 w 110"/>
                  <a:gd name="T39" fmla="*/ 64 h 64"/>
                  <a:gd name="T40" fmla="*/ 40 w 110"/>
                  <a:gd name="T41" fmla="*/ 62 h 64"/>
                  <a:gd name="T42" fmla="*/ 30 w 110"/>
                  <a:gd name="T43" fmla="*/ 58 h 64"/>
                  <a:gd name="T44" fmla="*/ 22 w 110"/>
                  <a:gd name="T45" fmla="*/ 54 h 64"/>
                  <a:gd name="T46" fmla="*/ 14 w 110"/>
                  <a:gd name="T47" fmla="*/ 50 h 64"/>
                  <a:gd name="T48" fmla="*/ 8 w 110"/>
                  <a:gd name="T49" fmla="*/ 44 h 64"/>
                  <a:gd name="T50" fmla="*/ 2 w 110"/>
                  <a:gd name="T51" fmla="*/ 38 h 64"/>
                  <a:gd name="T52" fmla="*/ 0 w 110"/>
                  <a:gd name="T53" fmla="*/ 32 h 64"/>
                  <a:gd name="T54" fmla="*/ 0 w 110"/>
                  <a:gd name="T55" fmla="*/ 24 h 64"/>
                  <a:gd name="T56" fmla="*/ 0 w 110"/>
                  <a:gd name="T57" fmla="*/ 24 h 64"/>
                  <a:gd name="T58" fmla="*/ 2 w 110"/>
                  <a:gd name="T59" fmla="*/ 18 h 64"/>
                  <a:gd name="T60" fmla="*/ 6 w 110"/>
                  <a:gd name="T61" fmla="*/ 14 h 64"/>
                  <a:gd name="T62" fmla="*/ 12 w 110"/>
                  <a:gd name="T63" fmla="*/ 8 h 64"/>
                  <a:gd name="T64" fmla="*/ 18 w 110"/>
                  <a:gd name="T65" fmla="*/ 4 h 64"/>
                  <a:gd name="T66" fmla="*/ 28 w 110"/>
                  <a:gd name="T67" fmla="*/ 2 h 64"/>
                  <a:gd name="T68" fmla="*/ 38 w 110"/>
                  <a:gd name="T69" fmla="*/ 0 h 64"/>
                  <a:gd name="T70" fmla="*/ 48 w 110"/>
                  <a:gd name="T71" fmla="*/ 0 h 64"/>
                  <a:gd name="T72" fmla="*/ 58 w 110"/>
                  <a:gd name="T73" fmla="*/ 2 h 64"/>
                  <a:gd name="T74" fmla="*/ 58 w 110"/>
                  <a:gd name="T75" fmla="*/ 2 h 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64"/>
                  <a:gd name="T116" fmla="*/ 110 w 110"/>
                  <a:gd name="T117" fmla="*/ 64 h 6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64">
                    <a:moveTo>
                      <a:pt x="58" y="2"/>
                    </a:moveTo>
                    <a:lnTo>
                      <a:pt x="58" y="2"/>
                    </a:lnTo>
                    <a:lnTo>
                      <a:pt x="70" y="4"/>
                    </a:lnTo>
                    <a:lnTo>
                      <a:pt x="80" y="6"/>
                    </a:lnTo>
                    <a:lnTo>
                      <a:pt x="88" y="12"/>
                    </a:lnTo>
                    <a:lnTo>
                      <a:pt x="96" y="16"/>
                    </a:lnTo>
                    <a:lnTo>
                      <a:pt x="102" y="22"/>
                    </a:lnTo>
                    <a:lnTo>
                      <a:pt x="108" y="28"/>
                    </a:lnTo>
                    <a:lnTo>
                      <a:pt x="110" y="34"/>
                    </a:lnTo>
                    <a:lnTo>
                      <a:pt x="110" y="40"/>
                    </a:lnTo>
                    <a:lnTo>
                      <a:pt x="108" y="46"/>
                    </a:lnTo>
                    <a:lnTo>
                      <a:pt x="104" y="52"/>
                    </a:lnTo>
                    <a:lnTo>
                      <a:pt x="98" y="56"/>
                    </a:lnTo>
                    <a:lnTo>
                      <a:pt x="92" y="60"/>
                    </a:lnTo>
                    <a:lnTo>
                      <a:pt x="82" y="62"/>
                    </a:lnTo>
                    <a:lnTo>
                      <a:pt x="72" y="64"/>
                    </a:lnTo>
                    <a:lnTo>
                      <a:pt x="62" y="64"/>
                    </a:lnTo>
                    <a:lnTo>
                      <a:pt x="52" y="64"/>
                    </a:lnTo>
                    <a:lnTo>
                      <a:pt x="40" y="62"/>
                    </a:lnTo>
                    <a:lnTo>
                      <a:pt x="30" y="58"/>
                    </a:lnTo>
                    <a:lnTo>
                      <a:pt x="22" y="54"/>
                    </a:lnTo>
                    <a:lnTo>
                      <a:pt x="14" y="50"/>
                    </a:lnTo>
                    <a:lnTo>
                      <a:pt x="8" y="44"/>
                    </a:lnTo>
                    <a:lnTo>
                      <a:pt x="2" y="38"/>
                    </a:lnTo>
                    <a:lnTo>
                      <a:pt x="0" y="32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6" y="14"/>
                    </a:lnTo>
                    <a:lnTo>
                      <a:pt x="12" y="8"/>
                    </a:lnTo>
                    <a:lnTo>
                      <a:pt x="18" y="4"/>
                    </a:lnTo>
                    <a:lnTo>
                      <a:pt x="28" y="2"/>
                    </a:lnTo>
                    <a:lnTo>
                      <a:pt x="38" y="0"/>
                    </a:lnTo>
                    <a:lnTo>
                      <a:pt x="48" y="0"/>
                    </a:lnTo>
                    <a:lnTo>
                      <a:pt x="58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9" name="Freeform 168"/>
              <p:cNvSpPr>
                <a:spLocks/>
              </p:cNvSpPr>
              <p:nvPr/>
            </p:nvSpPr>
            <p:spPr bwMode="auto">
              <a:xfrm>
                <a:off x="3480" y="1499"/>
                <a:ext cx="258" cy="338"/>
              </a:xfrm>
              <a:custGeom>
                <a:avLst/>
                <a:gdLst>
                  <a:gd name="T0" fmla="*/ 12 w 258"/>
                  <a:gd name="T1" fmla="*/ 106 h 338"/>
                  <a:gd name="T2" fmla="*/ 0 w 258"/>
                  <a:gd name="T3" fmla="*/ 84 h 338"/>
                  <a:gd name="T4" fmla="*/ 2 w 258"/>
                  <a:gd name="T5" fmla="*/ 72 h 338"/>
                  <a:gd name="T6" fmla="*/ 10 w 258"/>
                  <a:gd name="T7" fmla="*/ 62 h 338"/>
                  <a:gd name="T8" fmla="*/ 22 w 258"/>
                  <a:gd name="T9" fmla="*/ 60 h 338"/>
                  <a:gd name="T10" fmla="*/ 42 w 258"/>
                  <a:gd name="T11" fmla="*/ 64 h 338"/>
                  <a:gd name="T12" fmla="*/ 66 w 258"/>
                  <a:gd name="T13" fmla="*/ 86 h 338"/>
                  <a:gd name="T14" fmla="*/ 80 w 258"/>
                  <a:gd name="T15" fmla="*/ 104 h 338"/>
                  <a:gd name="T16" fmla="*/ 102 w 258"/>
                  <a:gd name="T17" fmla="*/ 126 h 338"/>
                  <a:gd name="T18" fmla="*/ 106 w 258"/>
                  <a:gd name="T19" fmla="*/ 136 h 338"/>
                  <a:gd name="T20" fmla="*/ 94 w 258"/>
                  <a:gd name="T21" fmla="*/ 74 h 338"/>
                  <a:gd name="T22" fmla="*/ 86 w 258"/>
                  <a:gd name="T23" fmla="*/ 54 h 338"/>
                  <a:gd name="T24" fmla="*/ 82 w 258"/>
                  <a:gd name="T25" fmla="*/ 36 h 338"/>
                  <a:gd name="T26" fmla="*/ 82 w 258"/>
                  <a:gd name="T27" fmla="*/ 16 h 338"/>
                  <a:gd name="T28" fmla="*/ 92 w 258"/>
                  <a:gd name="T29" fmla="*/ 2 h 338"/>
                  <a:gd name="T30" fmla="*/ 102 w 258"/>
                  <a:gd name="T31" fmla="*/ 0 h 338"/>
                  <a:gd name="T32" fmla="*/ 114 w 258"/>
                  <a:gd name="T33" fmla="*/ 2 h 338"/>
                  <a:gd name="T34" fmla="*/ 132 w 258"/>
                  <a:gd name="T35" fmla="*/ 20 h 338"/>
                  <a:gd name="T36" fmla="*/ 144 w 258"/>
                  <a:gd name="T37" fmla="*/ 44 h 338"/>
                  <a:gd name="T38" fmla="*/ 156 w 258"/>
                  <a:gd name="T39" fmla="*/ 84 h 338"/>
                  <a:gd name="T40" fmla="*/ 160 w 258"/>
                  <a:gd name="T41" fmla="*/ 96 h 338"/>
                  <a:gd name="T42" fmla="*/ 174 w 258"/>
                  <a:gd name="T43" fmla="*/ 124 h 338"/>
                  <a:gd name="T44" fmla="*/ 184 w 258"/>
                  <a:gd name="T45" fmla="*/ 122 h 338"/>
                  <a:gd name="T46" fmla="*/ 192 w 258"/>
                  <a:gd name="T47" fmla="*/ 122 h 338"/>
                  <a:gd name="T48" fmla="*/ 208 w 258"/>
                  <a:gd name="T49" fmla="*/ 124 h 338"/>
                  <a:gd name="T50" fmla="*/ 218 w 258"/>
                  <a:gd name="T51" fmla="*/ 130 h 338"/>
                  <a:gd name="T52" fmla="*/ 228 w 258"/>
                  <a:gd name="T53" fmla="*/ 144 h 338"/>
                  <a:gd name="T54" fmla="*/ 230 w 258"/>
                  <a:gd name="T55" fmla="*/ 152 h 338"/>
                  <a:gd name="T56" fmla="*/ 244 w 258"/>
                  <a:gd name="T57" fmla="*/ 156 h 338"/>
                  <a:gd name="T58" fmla="*/ 252 w 258"/>
                  <a:gd name="T59" fmla="*/ 164 h 338"/>
                  <a:gd name="T60" fmla="*/ 258 w 258"/>
                  <a:gd name="T61" fmla="*/ 180 h 338"/>
                  <a:gd name="T62" fmla="*/ 250 w 258"/>
                  <a:gd name="T63" fmla="*/ 206 h 338"/>
                  <a:gd name="T64" fmla="*/ 248 w 258"/>
                  <a:gd name="T65" fmla="*/ 222 h 338"/>
                  <a:gd name="T66" fmla="*/ 246 w 258"/>
                  <a:gd name="T67" fmla="*/ 244 h 338"/>
                  <a:gd name="T68" fmla="*/ 236 w 258"/>
                  <a:gd name="T69" fmla="*/ 286 h 338"/>
                  <a:gd name="T70" fmla="*/ 228 w 258"/>
                  <a:gd name="T71" fmla="*/ 304 h 338"/>
                  <a:gd name="T72" fmla="*/ 208 w 258"/>
                  <a:gd name="T73" fmla="*/ 326 h 338"/>
                  <a:gd name="T74" fmla="*/ 180 w 258"/>
                  <a:gd name="T75" fmla="*/ 336 h 338"/>
                  <a:gd name="T76" fmla="*/ 150 w 258"/>
                  <a:gd name="T77" fmla="*/ 336 h 338"/>
                  <a:gd name="T78" fmla="*/ 120 w 258"/>
                  <a:gd name="T79" fmla="*/ 328 h 338"/>
                  <a:gd name="T80" fmla="*/ 116 w 258"/>
                  <a:gd name="T81" fmla="*/ 324 h 338"/>
                  <a:gd name="T82" fmla="*/ 106 w 258"/>
                  <a:gd name="T83" fmla="*/ 308 h 338"/>
                  <a:gd name="T84" fmla="*/ 96 w 258"/>
                  <a:gd name="T85" fmla="*/ 298 h 338"/>
                  <a:gd name="T86" fmla="*/ 84 w 258"/>
                  <a:gd name="T87" fmla="*/ 276 h 338"/>
                  <a:gd name="T88" fmla="*/ 76 w 258"/>
                  <a:gd name="T89" fmla="*/ 236 h 338"/>
                  <a:gd name="T90" fmla="*/ 72 w 258"/>
                  <a:gd name="T91" fmla="*/ 210 h 338"/>
                  <a:gd name="T92" fmla="*/ 56 w 258"/>
                  <a:gd name="T93" fmla="*/ 160 h 338"/>
                  <a:gd name="T94" fmla="*/ 46 w 258"/>
                  <a:gd name="T95" fmla="*/ 146 h 338"/>
                  <a:gd name="T96" fmla="*/ 24 w 258"/>
                  <a:gd name="T97" fmla="*/ 120 h 338"/>
                  <a:gd name="T98" fmla="*/ 12 w 258"/>
                  <a:gd name="T99" fmla="*/ 106 h 33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8"/>
                  <a:gd name="T151" fmla="*/ 0 h 338"/>
                  <a:gd name="T152" fmla="*/ 258 w 258"/>
                  <a:gd name="T153" fmla="*/ 338 h 33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8" h="338">
                    <a:moveTo>
                      <a:pt x="12" y="106"/>
                    </a:moveTo>
                    <a:lnTo>
                      <a:pt x="12" y="106"/>
                    </a:lnTo>
                    <a:lnTo>
                      <a:pt x="6" y="96"/>
                    </a:lnTo>
                    <a:lnTo>
                      <a:pt x="0" y="84"/>
                    </a:lnTo>
                    <a:lnTo>
                      <a:pt x="0" y="78"/>
                    </a:lnTo>
                    <a:lnTo>
                      <a:pt x="2" y="72"/>
                    </a:lnTo>
                    <a:lnTo>
                      <a:pt x="4" y="68"/>
                    </a:lnTo>
                    <a:lnTo>
                      <a:pt x="10" y="62"/>
                    </a:lnTo>
                    <a:lnTo>
                      <a:pt x="22" y="60"/>
                    </a:lnTo>
                    <a:lnTo>
                      <a:pt x="32" y="60"/>
                    </a:lnTo>
                    <a:lnTo>
                      <a:pt x="42" y="64"/>
                    </a:lnTo>
                    <a:lnTo>
                      <a:pt x="50" y="70"/>
                    </a:lnTo>
                    <a:lnTo>
                      <a:pt x="66" y="86"/>
                    </a:lnTo>
                    <a:lnTo>
                      <a:pt x="80" y="104"/>
                    </a:lnTo>
                    <a:lnTo>
                      <a:pt x="94" y="118"/>
                    </a:lnTo>
                    <a:lnTo>
                      <a:pt x="102" y="126"/>
                    </a:lnTo>
                    <a:lnTo>
                      <a:pt x="106" y="136"/>
                    </a:lnTo>
                    <a:lnTo>
                      <a:pt x="98" y="94"/>
                    </a:lnTo>
                    <a:lnTo>
                      <a:pt x="94" y="74"/>
                    </a:lnTo>
                    <a:lnTo>
                      <a:pt x="86" y="54"/>
                    </a:lnTo>
                    <a:lnTo>
                      <a:pt x="84" y="46"/>
                    </a:lnTo>
                    <a:lnTo>
                      <a:pt x="82" y="36"/>
                    </a:lnTo>
                    <a:lnTo>
                      <a:pt x="82" y="24"/>
                    </a:lnTo>
                    <a:lnTo>
                      <a:pt x="82" y="16"/>
                    </a:lnTo>
                    <a:lnTo>
                      <a:pt x="86" y="6"/>
                    </a:lnTo>
                    <a:lnTo>
                      <a:pt x="92" y="2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4" y="2"/>
                    </a:lnTo>
                    <a:lnTo>
                      <a:pt x="124" y="10"/>
                    </a:lnTo>
                    <a:lnTo>
                      <a:pt x="132" y="20"/>
                    </a:lnTo>
                    <a:lnTo>
                      <a:pt x="138" y="32"/>
                    </a:lnTo>
                    <a:lnTo>
                      <a:pt x="144" y="44"/>
                    </a:lnTo>
                    <a:lnTo>
                      <a:pt x="152" y="70"/>
                    </a:lnTo>
                    <a:lnTo>
                      <a:pt x="156" y="84"/>
                    </a:lnTo>
                    <a:lnTo>
                      <a:pt x="160" y="96"/>
                    </a:lnTo>
                    <a:lnTo>
                      <a:pt x="168" y="110"/>
                    </a:lnTo>
                    <a:lnTo>
                      <a:pt x="174" y="124"/>
                    </a:lnTo>
                    <a:lnTo>
                      <a:pt x="184" y="122"/>
                    </a:lnTo>
                    <a:lnTo>
                      <a:pt x="192" y="122"/>
                    </a:lnTo>
                    <a:lnTo>
                      <a:pt x="200" y="122"/>
                    </a:lnTo>
                    <a:lnTo>
                      <a:pt x="208" y="124"/>
                    </a:lnTo>
                    <a:lnTo>
                      <a:pt x="214" y="126"/>
                    </a:lnTo>
                    <a:lnTo>
                      <a:pt x="218" y="130"/>
                    </a:lnTo>
                    <a:lnTo>
                      <a:pt x="224" y="136"/>
                    </a:lnTo>
                    <a:lnTo>
                      <a:pt x="228" y="144"/>
                    </a:lnTo>
                    <a:lnTo>
                      <a:pt x="230" y="152"/>
                    </a:lnTo>
                    <a:lnTo>
                      <a:pt x="238" y="152"/>
                    </a:lnTo>
                    <a:lnTo>
                      <a:pt x="244" y="156"/>
                    </a:lnTo>
                    <a:lnTo>
                      <a:pt x="252" y="164"/>
                    </a:lnTo>
                    <a:lnTo>
                      <a:pt x="256" y="172"/>
                    </a:lnTo>
                    <a:lnTo>
                      <a:pt x="258" y="180"/>
                    </a:lnTo>
                    <a:lnTo>
                      <a:pt x="256" y="188"/>
                    </a:lnTo>
                    <a:lnTo>
                      <a:pt x="250" y="206"/>
                    </a:lnTo>
                    <a:lnTo>
                      <a:pt x="248" y="214"/>
                    </a:lnTo>
                    <a:lnTo>
                      <a:pt x="248" y="222"/>
                    </a:lnTo>
                    <a:lnTo>
                      <a:pt x="246" y="244"/>
                    </a:lnTo>
                    <a:lnTo>
                      <a:pt x="242" y="264"/>
                    </a:lnTo>
                    <a:lnTo>
                      <a:pt x="236" y="286"/>
                    </a:lnTo>
                    <a:lnTo>
                      <a:pt x="228" y="304"/>
                    </a:lnTo>
                    <a:lnTo>
                      <a:pt x="220" y="316"/>
                    </a:lnTo>
                    <a:lnTo>
                      <a:pt x="208" y="326"/>
                    </a:lnTo>
                    <a:lnTo>
                      <a:pt x="194" y="332"/>
                    </a:lnTo>
                    <a:lnTo>
                      <a:pt x="180" y="336"/>
                    </a:lnTo>
                    <a:lnTo>
                      <a:pt x="164" y="338"/>
                    </a:lnTo>
                    <a:lnTo>
                      <a:pt x="150" y="336"/>
                    </a:lnTo>
                    <a:lnTo>
                      <a:pt x="134" y="332"/>
                    </a:lnTo>
                    <a:lnTo>
                      <a:pt x="120" y="328"/>
                    </a:lnTo>
                    <a:lnTo>
                      <a:pt x="116" y="324"/>
                    </a:lnTo>
                    <a:lnTo>
                      <a:pt x="112" y="320"/>
                    </a:lnTo>
                    <a:lnTo>
                      <a:pt x="106" y="308"/>
                    </a:lnTo>
                    <a:lnTo>
                      <a:pt x="96" y="298"/>
                    </a:lnTo>
                    <a:lnTo>
                      <a:pt x="90" y="288"/>
                    </a:lnTo>
                    <a:lnTo>
                      <a:pt x="84" y="276"/>
                    </a:lnTo>
                    <a:lnTo>
                      <a:pt x="82" y="262"/>
                    </a:lnTo>
                    <a:lnTo>
                      <a:pt x="76" y="236"/>
                    </a:lnTo>
                    <a:lnTo>
                      <a:pt x="72" y="210"/>
                    </a:lnTo>
                    <a:lnTo>
                      <a:pt x="66" y="184"/>
                    </a:lnTo>
                    <a:lnTo>
                      <a:pt x="56" y="160"/>
                    </a:lnTo>
                    <a:lnTo>
                      <a:pt x="46" y="146"/>
                    </a:lnTo>
                    <a:lnTo>
                      <a:pt x="36" y="132"/>
                    </a:lnTo>
                    <a:lnTo>
                      <a:pt x="24" y="120"/>
                    </a:lnTo>
                    <a:lnTo>
                      <a:pt x="12" y="10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" name="Freeform 169"/>
              <p:cNvSpPr>
                <a:spLocks noEditPoints="1"/>
              </p:cNvSpPr>
              <p:nvPr/>
            </p:nvSpPr>
            <p:spPr bwMode="auto">
              <a:xfrm>
                <a:off x="3476" y="1493"/>
                <a:ext cx="268" cy="348"/>
              </a:xfrm>
              <a:custGeom>
                <a:avLst/>
                <a:gdLst>
                  <a:gd name="T0" fmla="*/ 82 w 268"/>
                  <a:gd name="T1" fmla="*/ 18 h 348"/>
                  <a:gd name="T2" fmla="*/ 84 w 268"/>
                  <a:gd name="T3" fmla="*/ 56 h 348"/>
                  <a:gd name="T4" fmla="*/ 90 w 268"/>
                  <a:gd name="T5" fmla="*/ 72 h 348"/>
                  <a:gd name="T6" fmla="*/ 88 w 268"/>
                  <a:gd name="T7" fmla="*/ 106 h 348"/>
                  <a:gd name="T8" fmla="*/ 64 w 268"/>
                  <a:gd name="T9" fmla="*/ 76 h 348"/>
                  <a:gd name="T10" fmla="*/ 32 w 268"/>
                  <a:gd name="T11" fmla="*/ 60 h 348"/>
                  <a:gd name="T12" fmla="*/ 12 w 268"/>
                  <a:gd name="T13" fmla="*/ 64 h 348"/>
                  <a:gd name="T14" fmla="*/ 0 w 268"/>
                  <a:gd name="T15" fmla="*/ 80 h 348"/>
                  <a:gd name="T16" fmla="*/ 12 w 268"/>
                  <a:gd name="T17" fmla="*/ 116 h 348"/>
                  <a:gd name="T18" fmla="*/ 30 w 268"/>
                  <a:gd name="T19" fmla="*/ 136 h 348"/>
                  <a:gd name="T20" fmla="*/ 64 w 268"/>
                  <a:gd name="T21" fmla="*/ 194 h 348"/>
                  <a:gd name="T22" fmla="*/ 76 w 268"/>
                  <a:gd name="T23" fmla="*/ 244 h 348"/>
                  <a:gd name="T24" fmla="*/ 98 w 268"/>
                  <a:gd name="T25" fmla="*/ 310 h 348"/>
                  <a:gd name="T26" fmla="*/ 112 w 268"/>
                  <a:gd name="T27" fmla="*/ 326 h 348"/>
                  <a:gd name="T28" fmla="*/ 138 w 268"/>
                  <a:gd name="T29" fmla="*/ 344 h 348"/>
                  <a:gd name="T30" fmla="*/ 202 w 268"/>
                  <a:gd name="T31" fmla="*/ 342 h 348"/>
                  <a:gd name="T32" fmla="*/ 236 w 268"/>
                  <a:gd name="T33" fmla="*/ 312 h 348"/>
                  <a:gd name="T34" fmla="*/ 256 w 268"/>
                  <a:gd name="T35" fmla="*/ 228 h 348"/>
                  <a:gd name="T36" fmla="*/ 262 w 268"/>
                  <a:gd name="T37" fmla="*/ 208 h 348"/>
                  <a:gd name="T38" fmla="*/ 266 w 268"/>
                  <a:gd name="T39" fmla="*/ 176 h 348"/>
                  <a:gd name="T40" fmla="*/ 250 w 268"/>
                  <a:gd name="T41" fmla="*/ 158 h 348"/>
                  <a:gd name="T42" fmla="*/ 238 w 268"/>
                  <a:gd name="T43" fmla="*/ 152 h 348"/>
                  <a:gd name="T44" fmla="*/ 230 w 268"/>
                  <a:gd name="T45" fmla="*/ 136 h 348"/>
                  <a:gd name="T46" fmla="*/ 204 w 268"/>
                  <a:gd name="T47" fmla="*/ 122 h 348"/>
                  <a:gd name="T48" fmla="*/ 184 w 268"/>
                  <a:gd name="T49" fmla="*/ 124 h 348"/>
                  <a:gd name="T50" fmla="*/ 182 w 268"/>
                  <a:gd name="T51" fmla="*/ 124 h 348"/>
                  <a:gd name="T52" fmla="*/ 170 w 268"/>
                  <a:gd name="T53" fmla="*/ 98 h 348"/>
                  <a:gd name="T54" fmla="*/ 158 w 268"/>
                  <a:gd name="T55" fmla="*/ 68 h 348"/>
                  <a:gd name="T56" fmla="*/ 142 w 268"/>
                  <a:gd name="T57" fmla="*/ 24 h 348"/>
                  <a:gd name="T58" fmla="*/ 120 w 268"/>
                  <a:gd name="T59" fmla="*/ 2 h 348"/>
                  <a:gd name="T60" fmla="*/ 92 w 268"/>
                  <a:gd name="T61" fmla="*/ 2 h 348"/>
                  <a:gd name="T62" fmla="*/ 112 w 268"/>
                  <a:gd name="T63" fmla="*/ 116 h 348"/>
                  <a:gd name="T64" fmla="*/ 96 w 268"/>
                  <a:gd name="T65" fmla="*/ 58 h 348"/>
                  <a:gd name="T66" fmla="*/ 94 w 268"/>
                  <a:gd name="T67" fmla="*/ 18 h 348"/>
                  <a:gd name="T68" fmla="*/ 104 w 268"/>
                  <a:gd name="T69" fmla="*/ 10 h 348"/>
                  <a:gd name="T70" fmla="*/ 132 w 268"/>
                  <a:gd name="T71" fmla="*/ 30 h 348"/>
                  <a:gd name="T72" fmla="*/ 148 w 268"/>
                  <a:gd name="T73" fmla="*/ 70 h 348"/>
                  <a:gd name="T74" fmla="*/ 160 w 268"/>
                  <a:gd name="T75" fmla="*/ 104 h 348"/>
                  <a:gd name="T76" fmla="*/ 172 w 268"/>
                  <a:gd name="T77" fmla="*/ 126 h 348"/>
                  <a:gd name="T78" fmla="*/ 178 w 268"/>
                  <a:gd name="T79" fmla="*/ 136 h 348"/>
                  <a:gd name="T80" fmla="*/ 202 w 268"/>
                  <a:gd name="T81" fmla="*/ 132 h 348"/>
                  <a:gd name="T82" fmla="*/ 228 w 268"/>
                  <a:gd name="T83" fmla="*/ 154 h 348"/>
                  <a:gd name="T84" fmla="*/ 234 w 268"/>
                  <a:gd name="T85" fmla="*/ 164 h 348"/>
                  <a:gd name="T86" fmla="*/ 252 w 268"/>
                  <a:gd name="T87" fmla="*/ 172 h 348"/>
                  <a:gd name="T88" fmla="*/ 256 w 268"/>
                  <a:gd name="T89" fmla="*/ 190 h 348"/>
                  <a:gd name="T90" fmla="*/ 246 w 268"/>
                  <a:gd name="T91" fmla="*/ 228 h 348"/>
                  <a:gd name="T92" fmla="*/ 234 w 268"/>
                  <a:gd name="T93" fmla="*/ 288 h 348"/>
                  <a:gd name="T94" fmla="*/ 208 w 268"/>
                  <a:gd name="T95" fmla="*/ 328 h 348"/>
                  <a:gd name="T96" fmla="*/ 152 w 268"/>
                  <a:gd name="T97" fmla="*/ 336 h 348"/>
                  <a:gd name="T98" fmla="*/ 120 w 268"/>
                  <a:gd name="T99" fmla="*/ 320 h 348"/>
                  <a:gd name="T100" fmla="*/ 106 w 268"/>
                  <a:gd name="T101" fmla="*/ 304 h 348"/>
                  <a:gd name="T102" fmla="*/ 90 w 268"/>
                  <a:gd name="T103" fmla="*/ 262 h 348"/>
                  <a:gd name="T104" fmla="*/ 82 w 268"/>
                  <a:gd name="T105" fmla="*/ 214 h 348"/>
                  <a:gd name="T106" fmla="*/ 64 w 268"/>
                  <a:gd name="T107" fmla="*/ 164 h 348"/>
                  <a:gd name="T108" fmla="*/ 38 w 268"/>
                  <a:gd name="T109" fmla="*/ 128 h 348"/>
                  <a:gd name="T110" fmla="*/ 12 w 268"/>
                  <a:gd name="T111" fmla="*/ 92 h 348"/>
                  <a:gd name="T112" fmla="*/ 10 w 268"/>
                  <a:gd name="T113" fmla="*/ 82 h 348"/>
                  <a:gd name="T114" fmla="*/ 24 w 268"/>
                  <a:gd name="T115" fmla="*/ 72 h 348"/>
                  <a:gd name="T116" fmla="*/ 56 w 268"/>
                  <a:gd name="T117" fmla="*/ 86 h 348"/>
                  <a:gd name="T118" fmla="*/ 80 w 268"/>
                  <a:gd name="T119" fmla="*/ 112 h 3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68"/>
                  <a:gd name="T181" fmla="*/ 0 h 348"/>
                  <a:gd name="T182" fmla="*/ 268 w 268"/>
                  <a:gd name="T183" fmla="*/ 348 h 34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68" h="348">
                    <a:moveTo>
                      <a:pt x="88" y="6"/>
                    </a:moveTo>
                    <a:lnTo>
                      <a:pt x="88" y="6"/>
                    </a:lnTo>
                    <a:lnTo>
                      <a:pt x="84" y="12"/>
                    </a:lnTo>
                    <a:lnTo>
                      <a:pt x="82" y="18"/>
                    </a:lnTo>
                    <a:lnTo>
                      <a:pt x="80" y="30"/>
                    </a:lnTo>
                    <a:lnTo>
                      <a:pt x="80" y="44"/>
                    </a:lnTo>
                    <a:lnTo>
                      <a:pt x="84" y="56"/>
                    </a:lnTo>
                    <a:lnTo>
                      <a:pt x="86" y="62"/>
                    </a:lnTo>
                    <a:lnTo>
                      <a:pt x="90" y="72"/>
                    </a:lnTo>
                    <a:lnTo>
                      <a:pt x="96" y="94"/>
                    </a:lnTo>
                    <a:lnTo>
                      <a:pt x="100" y="118"/>
                    </a:lnTo>
                    <a:lnTo>
                      <a:pt x="88" y="106"/>
                    </a:lnTo>
                    <a:lnTo>
                      <a:pt x="76" y="90"/>
                    </a:lnTo>
                    <a:lnTo>
                      <a:pt x="64" y="76"/>
                    </a:lnTo>
                    <a:lnTo>
                      <a:pt x="56" y="70"/>
                    </a:lnTo>
                    <a:lnTo>
                      <a:pt x="50" y="66"/>
                    </a:lnTo>
                    <a:lnTo>
                      <a:pt x="42" y="62"/>
                    </a:lnTo>
                    <a:lnTo>
                      <a:pt x="32" y="60"/>
                    </a:lnTo>
                    <a:lnTo>
                      <a:pt x="22" y="60"/>
                    </a:lnTo>
                    <a:lnTo>
                      <a:pt x="12" y="64"/>
                    </a:lnTo>
                    <a:lnTo>
                      <a:pt x="4" y="70"/>
                    </a:lnTo>
                    <a:lnTo>
                      <a:pt x="0" y="80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2" y="116"/>
                    </a:lnTo>
                    <a:lnTo>
                      <a:pt x="30" y="136"/>
                    </a:lnTo>
                    <a:lnTo>
                      <a:pt x="44" y="152"/>
                    </a:lnTo>
                    <a:lnTo>
                      <a:pt x="54" y="168"/>
                    </a:lnTo>
                    <a:lnTo>
                      <a:pt x="64" y="194"/>
                    </a:lnTo>
                    <a:lnTo>
                      <a:pt x="70" y="218"/>
                    </a:lnTo>
                    <a:lnTo>
                      <a:pt x="76" y="244"/>
                    </a:lnTo>
                    <a:lnTo>
                      <a:pt x="78" y="264"/>
                    </a:lnTo>
                    <a:lnTo>
                      <a:pt x="84" y="284"/>
                    </a:lnTo>
                    <a:lnTo>
                      <a:pt x="92" y="302"/>
                    </a:lnTo>
                    <a:lnTo>
                      <a:pt x="98" y="310"/>
                    </a:lnTo>
                    <a:lnTo>
                      <a:pt x="106" y="318"/>
                    </a:lnTo>
                    <a:lnTo>
                      <a:pt x="112" y="326"/>
                    </a:lnTo>
                    <a:lnTo>
                      <a:pt x="116" y="334"/>
                    </a:lnTo>
                    <a:lnTo>
                      <a:pt x="122" y="338"/>
                    </a:lnTo>
                    <a:lnTo>
                      <a:pt x="138" y="344"/>
                    </a:lnTo>
                    <a:lnTo>
                      <a:pt x="154" y="348"/>
                    </a:lnTo>
                    <a:lnTo>
                      <a:pt x="170" y="348"/>
                    </a:lnTo>
                    <a:lnTo>
                      <a:pt x="186" y="348"/>
                    </a:lnTo>
                    <a:lnTo>
                      <a:pt x="202" y="342"/>
                    </a:lnTo>
                    <a:lnTo>
                      <a:pt x="216" y="336"/>
                    </a:lnTo>
                    <a:lnTo>
                      <a:pt x="228" y="326"/>
                    </a:lnTo>
                    <a:lnTo>
                      <a:pt x="236" y="312"/>
                    </a:lnTo>
                    <a:lnTo>
                      <a:pt x="246" y="292"/>
                    </a:lnTo>
                    <a:lnTo>
                      <a:pt x="252" y="272"/>
                    </a:lnTo>
                    <a:lnTo>
                      <a:pt x="256" y="250"/>
                    </a:lnTo>
                    <a:lnTo>
                      <a:pt x="256" y="228"/>
                    </a:lnTo>
                    <a:lnTo>
                      <a:pt x="258" y="218"/>
                    </a:lnTo>
                    <a:lnTo>
                      <a:pt x="262" y="208"/>
                    </a:lnTo>
                    <a:lnTo>
                      <a:pt x="266" y="192"/>
                    </a:lnTo>
                    <a:lnTo>
                      <a:pt x="268" y="184"/>
                    </a:lnTo>
                    <a:lnTo>
                      <a:pt x="266" y="176"/>
                    </a:lnTo>
                    <a:lnTo>
                      <a:pt x="260" y="166"/>
                    </a:lnTo>
                    <a:lnTo>
                      <a:pt x="252" y="158"/>
                    </a:lnTo>
                    <a:lnTo>
                      <a:pt x="250" y="158"/>
                    </a:lnTo>
                    <a:lnTo>
                      <a:pt x="244" y="154"/>
                    </a:lnTo>
                    <a:lnTo>
                      <a:pt x="238" y="152"/>
                    </a:lnTo>
                    <a:lnTo>
                      <a:pt x="234" y="144"/>
                    </a:lnTo>
                    <a:lnTo>
                      <a:pt x="230" y="136"/>
                    </a:lnTo>
                    <a:lnTo>
                      <a:pt x="226" y="132"/>
                    </a:lnTo>
                    <a:lnTo>
                      <a:pt x="220" y="126"/>
                    </a:lnTo>
                    <a:lnTo>
                      <a:pt x="212" y="124"/>
                    </a:lnTo>
                    <a:lnTo>
                      <a:pt x="204" y="122"/>
                    </a:lnTo>
                    <a:lnTo>
                      <a:pt x="196" y="122"/>
                    </a:lnTo>
                    <a:lnTo>
                      <a:pt x="188" y="122"/>
                    </a:lnTo>
                    <a:lnTo>
                      <a:pt x="184" y="124"/>
                    </a:lnTo>
                    <a:lnTo>
                      <a:pt x="182" y="124"/>
                    </a:lnTo>
                    <a:lnTo>
                      <a:pt x="174" y="106"/>
                    </a:lnTo>
                    <a:lnTo>
                      <a:pt x="170" y="98"/>
                    </a:lnTo>
                    <a:lnTo>
                      <a:pt x="164" y="82"/>
                    </a:lnTo>
                    <a:lnTo>
                      <a:pt x="158" y="68"/>
                    </a:lnTo>
                    <a:lnTo>
                      <a:pt x="154" y="52"/>
                    </a:lnTo>
                    <a:lnTo>
                      <a:pt x="148" y="38"/>
                    </a:lnTo>
                    <a:lnTo>
                      <a:pt x="142" y="24"/>
                    </a:lnTo>
                    <a:lnTo>
                      <a:pt x="132" y="12"/>
                    </a:lnTo>
                    <a:lnTo>
                      <a:pt x="120" y="4"/>
                    </a:lnTo>
                    <a:lnTo>
                      <a:pt x="120" y="2"/>
                    </a:lnTo>
                    <a:lnTo>
                      <a:pt x="108" y="0"/>
                    </a:lnTo>
                    <a:lnTo>
                      <a:pt x="100" y="0"/>
                    </a:lnTo>
                    <a:lnTo>
                      <a:pt x="92" y="2"/>
                    </a:lnTo>
                    <a:lnTo>
                      <a:pt x="88" y="6"/>
                    </a:lnTo>
                    <a:close/>
                    <a:moveTo>
                      <a:pt x="116" y="140"/>
                    </a:moveTo>
                    <a:lnTo>
                      <a:pt x="112" y="116"/>
                    </a:lnTo>
                    <a:lnTo>
                      <a:pt x="104" y="86"/>
                    </a:lnTo>
                    <a:lnTo>
                      <a:pt x="96" y="58"/>
                    </a:lnTo>
                    <a:lnTo>
                      <a:pt x="92" y="48"/>
                    </a:lnTo>
                    <a:lnTo>
                      <a:pt x="90" y="34"/>
                    </a:lnTo>
                    <a:lnTo>
                      <a:pt x="92" y="22"/>
                    </a:lnTo>
                    <a:lnTo>
                      <a:pt x="94" y="18"/>
                    </a:lnTo>
                    <a:lnTo>
                      <a:pt x="96" y="14"/>
                    </a:lnTo>
                    <a:lnTo>
                      <a:pt x="100" y="12"/>
                    </a:lnTo>
                    <a:lnTo>
                      <a:pt x="104" y="10"/>
                    </a:lnTo>
                    <a:lnTo>
                      <a:pt x="116" y="12"/>
                    </a:lnTo>
                    <a:lnTo>
                      <a:pt x="124" y="22"/>
                    </a:lnTo>
                    <a:lnTo>
                      <a:pt x="132" y="30"/>
                    </a:lnTo>
                    <a:lnTo>
                      <a:pt x="138" y="42"/>
                    </a:lnTo>
                    <a:lnTo>
                      <a:pt x="144" y="54"/>
                    </a:lnTo>
                    <a:lnTo>
                      <a:pt x="148" y="70"/>
                    </a:lnTo>
                    <a:lnTo>
                      <a:pt x="152" y="86"/>
                    </a:lnTo>
                    <a:lnTo>
                      <a:pt x="160" y="104"/>
                    </a:lnTo>
                    <a:lnTo>
                      <a:pt x="164" y="110"/>
                    </a:lnTo>
                    <a:lnTo>
                      <a:pt x="172" y="126"/>
                    </a:lnTo>
                    <a:lnTo>
                      <a:pt x="172" y="130"/>
                    </a:lnTo>
                    <a:lnTo>
                      <a:pt x="174" y="136"/>
                    </a:lnTo>
                    <a:lnTo>
                      <a:pt x="178" y="136"/>
                    </a:lnTo>
                    <a:lnTo>
                      <a:pt x="186" y="134"/>
                    </a:lnTo>
                    <a:lnTo>
                      <a:pt x="190" y="134"/>
                    </a:lnTo>
                    <a:lnTo>
                      <a:pt x="202" y="132"/>
                    </a:lnTo>
                    <a:lnTo>
                      <a:pt x="214" y="136"/>
                    </a:lnTo>
                    <a:lnTo>
                      <a:pt x="222" y="144"/>
                    </a:lnTo>
                    <a:lnTo>
                      <a:pt x="228" y="154"/>
                    </a:lnTo>
                    <a:lnTo>
                      <a:pt x="228" y="160"/>
                    </a:lnTo>
                    <a:lnTo>
                      <a:pt x="230" y="164"/>
                    </a:lnTo>
                    <a:lnTo>
                      <a:pt x="234" y="164"/>
                    </a:lnTo>
                    <a:lnTo>
                      <a:pt x="240" y="164"/>
                    </a:lnTo>
                    <a:lnTo>
                      <a:pt x="246" y="166"/>
                    </a:lnTo>
                    <a:lnTo>
                      <a:pt x="252" y="172"/>
                    </a:lnTo>
                    <a:lnTo>
                      <a:pt x="256" y="180"/>
                    </a:lnTo>
                    <a:lnTo>
                      <a:pt x="256" y="184"/>
                    </a:lnTo>
                    <a:lnTo>
                      <a:pt x="256" y="190"/>
                    </a:lnTo>
                    <a:lnTo>
                      <a:pt x="252" y="204"/>
                    </a:lnTo>
                    <a:lnTo>
                      <a:pt x="248" y="216"/>
                    </a:lnTo>
                    <a:lnTo>
                      <a:pt x="246" y="228"/>
                    </a:lnTo>
                    <a:lnTo>
                      <a:pt x="244" y="248"/>
                    </a:lnTo>
                    <a:lnTo>
                      <a:pt x="240" y="268"/>
                    </a:lnTo>
                    <a:lnTo>
                      <a:pt x="234" y="288"/>
                    </a:lnTo>
                    <a:lnTo>
                      <a:pt x="228" y="308"/>
                    </a:lnTo>
                    <a:lnTo>
                      <a:pt x="218" y="320"/>
                    </a:lnTo>
                    <a:lnTo>
                      <a:pt x="208" y="328"/>
                    </a:lnTo>
                    <a:lnTo>
                      <a:pt x="194" y="334"/>
                    </a:lnTo>
                    <a:lnTo>
                      <a:pt x="180" y="338"/>
                    </a:lnTo>
                    <a:lnTo>
                      <a:pt x="166" y="338"/>
                    </a:lnTo>
                    <a:lnTo>
                      <a:pt x="152" y="336"/>
                    </a:lnTo>
                    <a:lnTo>
                      <a:pt x="138" y="334"/>
                    </a:lnTo>
                    <a:lnTo>
                      <a:pt x="126" y="328"/>
                    </a:lnTo>
                    <a:lnTo>
                      <a:pt x="120" y="320"/>
                    </a:lnTo>
                    <a:lnTo>
                      <a:pt x="114" y="312"/>
                    </a:lnTo>
                    <a:lnTo>
                      <a:pt x="106" y="304"/>
                    </a:lnTo>
                    <a:lnTo>
                      <a:pt x="102" y="296"/>
                    </a:lnTo>
                    <a:lnTo>
                      <a:pt x="94" y="280"/>
                    </a:lnTo>
                    <a:lnTo>
                      <a:pt x="90" y="262"/>
                    </a:lnTo>
                    <a:lnTo>
                      <a:pt x="86" y="242"/>
                    </a:lnTo>
                    <a:lnTo>
                      <a:pt x="82" y="214"/>
                    </a:lnTo>
                    <a:lnTo>
                      <a:pt x="74" y="186"/>
                    </a:lnTo>
                    <a:lnTo>
                      <a:pt x="64" y="164"/>
                    </a:lnTo>
                    <a:lnTo>
                      <a:pt x="58" y="154"/>
                    </a:lnTo>
                    <a:lnTo>
                      <a:pt x="52" y="144"/>
                    </a:lnTo>
                    <a:lnTo>
                      <a:pt x="38" y="128"/>
                    </a:lnTo>
                    <a:lnTo>
                      <a:pt x="20" y="108"/>
                    </a:lnTo>
                    <a:lnTo>
                      <a:pt x="16" y="102"/>
                    </a:lnTo>
                    <a:lnTo>
                      <a:pt x="12" y="92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2" y="78"/>
                    </a:lnTo>
                    <a:lnTo>
                      <a:pt x="16" y="74"/>
                    </a:lnTo>
                    <a:lnTo>
                      <a:pt x="24" y="72"/>
                    </a:lnTo>
                    <a:lnTo>
                      <a:pt x="32" y="72"/>
                    </a:lnTo>
                    <a:lnTo>
                      <a:pt x="38" y="72"/>
                    </a:lnTo>
                    <a:lnTo>
                      <a:pt x="44" y="76"/>
                    </a:lnTo>
                    <a:lnTo>
                      <a:pt x="56" y="86"/>
                    </a:lnTo>
                    <a:lnTo>
                      <a:pt x="66" y="98"/>
                    </a:lnTo>
                    <a:lnTo>
                      <a:pt x="80" y="112"/>
                    </a:lnTo>
                    <a:lnTo>
                      <a:pt x="94" y="128"/>
                    </a:lnTo>
                    <a:lnTo>
                      <a:pt x="106" y="144"/>
                    </a:lnTo>
                    <a:lnTo>
                      <a:pt x="116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1" name="Freeform 170"/>
              <p:cNvSpPr>
                <a:spLocks/>
              </p:cNvSpPr>
              <p:nvPr/>
            </p:nvSpPr>
            <p:spPr bwMode="auto">
              <a:xfrm>
                <a:off x="3484" y="1503"/>
                <a:ext cx="250" cy="330"/>
              </a:xfrm>
              <a:custGeom>
                <a:avLst/>
                <a:gdLst>
                  <a:gd name="T0" fmla="*/ 86 w 250"/>
                  <a:gd name="T1" fmla="*/ 276 h 330"/>
                  <a:gd name="T2" fmla="*/ 74 w 250"/>
                  <a:gd name="T3" fmla="*/ 210 h 330"/>
                  <a:gd name="T4" fmla="*/ 62 w 250"/>
                  <a:gd name="T5" fmla="*/ 168 h 330"/>
                  <a:gd name="T6" fmla="*/ 44 w 250"/>
                  <a:gd name="T7" fmla="*/ 136 h 330"/>
                  <a:gd name="T8" fmla="*/ 20 w 250"/>
                  <a:gd name="T9" fmla="*/ 110 h 330"/>
                  <a:gd name="T10" fmla="*/ 4 w 250"/>
                  <a:gd name="T11" fmla="*/ 86 h 330"/>
                  <a:gd name="T12" fmla="*/ 0 w 250"/>
                  <a:gd name="T13" fmla="*/ 78 h 330"/>
                  <a:gd name="T14" fmla="*/ 2 w 250"/>
                  <a:gd name="T15" fmla="*/ 68 h 330"/>
                  <a:gd name="T16" fmla="*/ 10 w 250"/>
                  <a:gd name="T17" fmla="*/ 60 h 330"/>
                  <a:gd name="T18" fmla="*/ 30 w 250"/>
                  <a:gd name="T19" fmla="*/ 62 h 330"/>
                  <a:gd name="T20" fmla="*/ 36 w 250"/>
                  <a:gd name="T21" fmla="*/ 64 h 330"/>
                  <a:gd name="T22" fmla="*/ 66 w 250"/>
                  <a:gd name="T23" fmla="*/ 92 h 330"/>
                  <a:gd name="T24" fmla="*/ 98 w 250"/>
                  <a:gd name="T25" fmla="*/ 130 h 330"/>
                  <a:gd name="T26" fmla="*/ 114 w 250"/>
                  <a:gd name="T27" fmla="*/ 158 h 330"/>
                  <a:gd name="T28" fmla="*/ 106 w 250"/>
                  <a:gd name="T29" fmla="*/ 126 h 330"/>
                  <a:gd name="T30" fmla="*/ 92 w 250"/>
                  <a:gd name="T31" fmla="*/ 64 h 330"/>
                  <a:gd name="T32" fmla="*/ 80 w 250"/>
                  <a:gd name="T33" fmla="*/ 28 h 330"/>
                  <a:gd name="T34" fmla="*/ 82 w 250"/>
                  <a:gd name="T35" fmla="*/ 16 h 330"/>
                  <a:gd name="T36" fmla="*/ 86 w 250"/>
                  <a:gd name="T37" fmla="*/ 6 h 330"/>
                  <a:gd name="T38" fmla="*/ 96 w 250"/>
                  <a:gd name="T39" fmla="*/ 0 h 330"/>
                  <a:gd name="T40" fmla="*/ 108 w 250"/>
                  <a:gd name="T41" fmla="*/ 2 h 330"/>
                  <a:gd name="T42" fmla="*/ 122 w 250"/>
                  <a:gd name="T43" fmla="*/ 14 h 330"/>
                  <a:gd name="T44" fmla="*/ 130 w 250"/>
                  <a:gd name="T45" fmla="*/ 30 h 330"/>
                  <a:gd name="T46" fmla="*/ 146 w 250"/>
                  <a:gd name="T47" fmla="*/ 76 h 330"/>
                  <a:gd name="T48" fmla="*/ 158 w 250"/>
                  <a:gd name="T49" fmla="*/ 102 h 330"/>
                  <a:gd name="T50" fmla="*/ 166 w 250"/>
                  <a:gd name="T51" fmla="*/ 122 h 330"/>
                  <a:gd name="T52" fmla="*/ 166 w 250"/>
                  <a:gd name="T53" fmla="*/ 124 h 330"/>
                  <a:gd name="T54" fmla="*/ 174 w 250"/>
                  <a:gd name="T55" fmla="*/ 124 h 330"/>
                  <a:gd name="T56" fmla="*/ 190 w 250"/>
                  <a:gd name="T57" fmla="*/ 122 h 330"/>
                  <a:gd name="T58" fmla="*/ 208 w 250"/>
                  <a:gd name="T59" fmla="*/ 126 h 330"/>
                  <a:gd name="T60" fmla="*/ 216 w 250"/>
                  <a:gd name="T61" fmla="*/ 136 h 330"/>
                  <a:gd name="T62" fmla="*/ 222 w 250"/>
                  <a:gd name="T63" fmla="*/ 152 h 330"/>
                  <a:gd name="T64" fmla="*/ 230 w 250"/>
                  <a:gd name="T65" fmla="*/ 152 h 330"/>
                  <a:gd name="T66" fmla="*/ 240 w 250"/>
                  <a:gd name="T67" fmla="*/ 158 h 330"/>
                  <a:gd name="T68" fmla="*/ 248 w 250"/>
                  <a:gd name="T69" fmla="*/ 168 h 330"/>
                  <a:gd name="T70" fmla="*/ 250 w 250"/>
                  <a:gd name="T71" fmla="*/ 182 h 330"/>
                  <a:gd name="T72" fmla="*/ 248 w 250"/>
                  <a:gd name="T73" fmla="*/ 190 h 330"/>
                  <a:gd name="T74" fmla="*/ 240 w 250"/>
                  <a:gd name="T75" fmla="*/ 206 h 330"/>
                  <a:gd name="T76" fmla="*/ 238 w 250"/>
                  <a:gd name="T77" fmla="*/ 214 h 330"/>
                  <a:gd name="T78" fmla="*/ 238 w 250"/>
                  <a:gd name="T79" fmla="*/ 232 h 330"/>
                  <a:gd name="T80" fmla="*/ 228 w 250"/>
                  <a:gd name="T81" fmla="*/ 276 h 330"/>
                  <a:gd name="T82" fmla="*/ 218 w 250"/>
                  <a:gd name="T83" fmla="*/ 304 h 330"/>
                  <a:gd name="T84" fmla="*/ 210 w 250"/>
                  <a:gd name="T85" fmla="*/ 314 h 330"/>
                  <a:gd name="T86" fmla="*/ 190 w 250"/>
                  <a:gd name="T87" fmla="*/ 324 h 330"/>
                  <a:gd name="T88" fmla="*/ 170 w 250"/>
                  <a:gd name="T89" fmla="*/ 328 h 330"/>
                  <a:gd name="T90" fmla="*/ 136 w 250"/>
                  <a:gd name="T91" fmla="*/ 326 h 330"/>
                  <a:gd name="T92" fmla="*/ 120 w 250"/>
                  <a:gd name="T93" fmla="*/ 322 h 330"/>
                  <a:gd name="T94" fmla="*/ 116 w 250"/>
                  <a:gd name="T95" fmla="*/ 318 h 330"/>
                  <a:gd name="T96" fmla="*/ 114 w 250"/>
                  <a:gd name="T97" fmla="*/ 312 h 330"/>
                  <a:gd name="T98" fmla="*/ 102 w 250"/>
                  <a:gd name="T99" fmla="*/ 298 h 330"/>
                  <a:gd name="T100" fmla="*/ 88 w 250"/>
                  <a:gd name="T101" fmla="*/ 284 h 330"/>
                  <a:gd name="T102" fmla="*/ 86 w 250"/>
                  <a:gd name="T103" fmla="*/ 276 h 33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50"/>
                  <a:gd name="T157" fmla="*/ 0 h 330"/>
                  <a:gd name="T158" fmla="*/ 250 w 250"/>
                  <a:gd name="T159" fmla="*/ 330 h 33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50" h="330">
                    <a:moveTo>
                      <a:pt x="86" y="276"/>
                    </a:moveTo>
                    <a:lnTo>
                      <a:pt x="86" y="276"/>
                    </a:lnTo>
                    <a:lnTo>
                      <a:pt x="82" y="250"/>
                    </a:lnTo>
                    <a:lnTo>
                      <a:pt x="74" y="210"/>
                    </a:lnTo>
                    <a:lnTo>
                      <a:pt x="68" y="188"/>
                    </a:lnTo>
                    <a:lnTo>
                      <a:pt x="62" y="168"/>
                    </a:lnTo>
                    <a:lnTo>
                      <a:pt x="54" y="150"/>
                    </a:lnTo>
                    <a:lnTo>
                      <a:pt x="44" y="136"/>
                    </a:lnTo>
                    <a:lnTo>
                      <a:pt x="20" y="110"/>
                    </a:lnTo>
                    <a:lnTo>
                      <a:pt x="10" y="98"/>
                    </a:lnTo>
                    <a:lnTo>
                      <a:pt x="4" y="86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2" y="68"/>
                    </a:lnTo>
                    <a:lnTo>
                      <a:pt x="6" y="64"/>
                    </a:lnTo>
                    <a:lnTo>
                      <a:pt x="10" y="60"/>
                    </a:lnTo>
                    <a:lnTo>
                      <a:pt x="16" y="60"/>
                    </a:lnTo>
                    <a:lnTo>
                      <a:pt x="30" y="62"/>
                    </a:lnTo>
                    <a:lnTo>
                      <a:pt x="36" y="64"/>
                    </a:lnTo>
                    <a:lnTo>
                      <a:pt x="46" y="72"/>
                    </a:lnTo>
                    <a:lnTo>
                      <a:pt x="66" y="92"/>
                    </a:lnTo>
                    <a:lnTo>
                      <a:pt x="84" y="114"/>
                    </a:lnTo>
                    <a:lnTo>
                      <a:pt x="98" y="130"/>
                    </a:lnTo>
                    <a:lnTo>
                      <a:pt x="114" y="158"/>
                    </a:lnTo>
                    <a:lnTo>
                      <a:pt x="106" y="126"/>
                    </a:lnTo>
                    <a:lnTo>
                      <a:pt x="92" y="64"/>
                    </a:lnTo>
                    <a:lnTo>
                      <a:pt x="84" y="40"/>
                    </a:lnTo>
                    <a:lnTo>
                      <a:pt x="80" y="28"/>
                    </a:lnTo>
                    <a:lnTo>
                      <a:pt x="80" y="22"/>
                    </a:lnTo>
                    <a:lnTo>
                      <a:pt x="82" y="16"/>
                    </a:lnTo>
                    <a:lnTo>
                      <a:pt x="86" y="6"/>
                    </a:lnTo>
                    <a:lnTo>
                      <a:pt x="90" y="2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08" y="2"/>
                    </a:lnTo>
                    <a:lnTo>
                      <a:pt x="114" y="6"/>
                    </a:lnTo>
                    <a:lnTo>
                      <a:pt x="122" y="14"/>
                    </a:lnTo>
                    <a:lnTo>
                      <a:pt x="130" y="30"/>
                    </a:lnTo>
                    <a:lnTo>
                      <a:pt x="136" y="46"/>
                    </a:lnTo>
                    <a:lnTo>
                      <a:pt x="146" y="76"/>
                    </a:lnTo>
                    <a:lnTo>
                      <a:pt x="158" y="102"/>
                    </a:lnTo>
                    <a:lnTo>
                      <a:pt x="162" y="114"/>
                    </a:lnTo>
                    <a:lnTo>
                      <a:pt x="166" y="122"/>
                    </a:lnTo>
                    <a:lnTo>
                      <a:pt x="166" y="124"/>
                    </a:lnTo>
                    <a:lnTo>
                      <a:pt x="168" y="124"/>
                    </a:lnTo>
                    <a:lnTo>
                      <a:pt x="174" y="124"/>
                    </a:lnTo>
                    <a:lnTo>
                      <a:pt x="182" y="122"/>
                    </a:lnTo>
                    <a:lnTo>
                      <a:pt x="190" y="122"/>
                    </a:lnTo>
                    <a:lnTo>
                      <a:pt x="200" y="122"/>
                    </a:lnTo>
                    <a:lnTo>
                      <a:pt x="208" y="126"/>
                    </a:lnTo>
                    <a:lnTo>
                      <a:pt x="214" y="130"/>
                    </a:lnTo>
                    <a:lnTo>
                      <a:pt x="216" y="136"/>
                    </a:lnTo>
                    <a:lnTo>
                      <a:pt x="220" y="144"/>
                    </a:lnTo>
                    <a:lnTo>
                      <a:pt x="222" y="152"/>
                    </a:lnTo>
                    <a:lnTo>
                      <a:pt x="230" y="152"/>
                    </a:lnTo>
                    <a:lnTo>
                      <a:pt x="236" y="154"/>
                    </a:lnTo>
                    <a:lnTo>
                      <a:pt x="240" y="158"/>
                    </a:lnTo>
                    <a:lnTo>
                      <a:pt x="244" y="162"/>
                    </a:lnTo>
                    <a:lnTo>
                      <a:pt x="248" y="168"/>
                    </a:lnTo>
                    <a:lnTo>
                      <a:pt x="250" y="174"/>
                    </a:lnTo>
                    <a:lnTo>
                      <a:pt x="250" y="182"/>
                    </a:lnTo>
                    <a:lnTo>
                      <a:pt x="248" y="190"/>
                    </a:lnTo>
                    <a:lnTo>
                      <a:pt x="244" y="200"/>
                    </a:lnTo>
                    <a:lnTo>
                      <a:pt x="240" y="206"/>
                    </a:lnTo>
                    <a:lnTo>
                      <a:pt x="238" y="210"/>
                    </a:lnTo>
                    <a:lnTo>
                      <a:pt x="238" y="214"/>
                    </a:lnTo>
                    <a:lnTo>
                      <a:pt x="238" y="232"/>
                    </a:lnTo>
                    <a:lnTo>
                      <a:pt x="234" y="260"/>
                    </a:lnTo>
                    <a:lnTo>
                      <a:pt x="228" y="276"/>
                    </a:lnTo>
                    <a:lnTo>
                      <a:pt x="224" y="292"/>
                    </a:lnTo>
                    <a:lnTo>
                      <a:pt x="218" y="304"/>
                    </a:lnTo>
                    <a:lnTo>
                      <a:pt x="210" y="314"/>
                    </a:lnTo>
                    <a:lnTo>
                      <a:pt x="200" y="320"/>
                    </a:lnTo>
                    <a:lnTo>
                      <a:pt x="190" y="324"/>
                    </a:lnTo>
                    <a:lnTo>
                      <a:pt x="180" y="326"/>
                    </a:lnTo>
                    <a:lnTo>
                      <a:pt x="170" y="328"/>
                    </a:lnTo>
                    <a:lnTo>
                      <a:pt x="150" y="330"/>
                    </a:lnTo>
                    <a:lnTo>
                      <a:pt x="136" y="326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4" y="312"/>
                    </a:lnTo>
                    <a:lnTo>
                      <a:pt x="110" y="308"/>
                    </a:lnTo>
                    <a:lnTo>
                      <a:pt x="102" y="298"/>
                    </a:lnTo>
                    <a:lnTo>
                      <a:pt x="92" y="290"/>
                    </a:lnTo>
                    <a:lnTo>
                      <a:pt x="88" y="284"/>
                    </a:lnTo>
                    <a:lnTo>
                      <a:pt x="86" y="27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2" name="Freeform 171"/>
              <p:cNvSpPr>
                <a:spLocks/>
              </p:cNvSpPr>
              <p:nvPr/>
            </p:nvSpPr>
            <p:spPr bwMode="auto">
              <a:xfrm>
                <a:off x="3680" y="1635"/>
                <a:ext cx="28" cy="82"/>
              </a:xfrm>
              <a:custGeom>
                <a:avLst/>
                <a:gdLst>
                  <a:gd name="T0" fmla="*/ 18 w 28"/>
                  <a:gd name="T1" fmla="*/ 0 h 82"/>
                  <a:gd name="T2" fmla="*/ 18 w 28"/>
                  <a:gd name="T3" fmla="*/ 0 h 82"/>
                  <a:gd name="T4" fmla="*/ 24 w 28"/>
                  <a:gd name="T5" fmla="*/ 24 h 82"/>
                  <a:gd name="T6" fmla="*/ 24 w 28"/>
                  <a:gd name="T7" fmla="*/ 32 h 82"/>
                  <a:gd name="T8" fmla="*/ 22 w 28"/>
                  <a:gd name="T9" fmla="*/ 42 h 82"/>
                  <a:gd name="T10" fmla="*/ 18 w 28"/>
                  <a:gd name="T11" fmla="*/ 58 h 82"/>
                  <a:gd name="T12" fmla="*/ 8 w 28"/>
                  <a:gd name="T13" fmla="*/ 74 h 82"/>
                  <a:gd name="T14" fmla="*/ 8 w 28"/>
                  <a:gd name="T15" fmla="*/ 74 h 82"/>
                  <a:gd name="T16" fmla="*/ 4 w 28"/>
                  <a:gd name="T17" fmla="*/ 80 h 82"/>
                  <a:gd name="T18" fmla="*/ 0 w 28"/>
                  <a:gd name="T19" fmla="*/ 82 h 82"/>
                  <a:gd name="T20" fmla="*/ 0 w 28"/>
                  <a:gd name="T21" fmla="*/ 82 h 82"/>
                  <a:gd name="T22" fmla="*/ 4 w 28"/>
                  <a:gd name="T23" fmla="*/ 82 h 82"/>
                  <a:gd name="T24" fmla="*/ 10 w 28"/>
                  <a:gd name="T25" fmla="*/ 78 h 82"/>
                  <a:gd name="T26" fmla="*/ 18 w 28"/>
                  <a:gd name="T27" fmla="*/ 70 h 82"/>
                  <a:gd name="T28" fmla="*/ 20 w 28"/>
                  <a:gd name="T29" fmla="*/ 64 h 82"/>
                  <a:gd name="T30" fmla="*/ 24 w 28"/>
                  <a:gd name="T31" fmla="*/ 56 h 82"/>
                  <a:gd name="T32" fmla="*/ 24 w 28"/>
                  <a:gd name="T33" fmla="*/ 56 h 82"/>
                  <a:gd name="T34" fmla="*/ 28 w 28"/>
                  <a:gd name="T35" fmla="*/ 38 h 82"/>
                  <a:gd name="T36" fmla="*/ 28 w 28"/>
                  <a:gd name="T37" fmla="*/ 24 h 82"/>
                  <a:gd name="T38" fmla="*/ 26 w 28"/>
                  <a:gd name="T39" fmla="*/ 14 h 82"/>
                  <a:gd name="T40" fmla="*/ 18 w 28"/>
                  <a:gd name="T41" fmla="*/ 0 h 82"/>
                  <a:gd name="T42" fmla="*/ 18 w 28"/>
                  <a:gd name="T43" fmla="*/ 0 h 8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8"/>
                  <a:gd name="T67" fmla="*/ 0 h 82"/>
                  <a:gd name="T68" fmla="*/ 28 w 28"/>
                  <a:gd name="T69" fmla="*/ 82 h 8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8" h="82">
                    <a:moveTo>
                      <a:pt x="18" y="0"/>
                    </a:moveTo>
                    <a:lnTo>
                      <a:pt x="18" y="0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22" y="42"/>
                    </a:lnTo>
                    <a:lnTo>
                      <a:pt x="18" y="58"/>
                    </a:lnTo>
                    <a:lnTo>
                      <a:pt x="8" y="74"/>
                    </a:lnTo>
                    <a:lnTo>
                      <a:pt x="4" y="80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10" y="78"/>
                    </a:lnTo>
                    <a:lnTo>
                      <a:pt x="18" y="70"/>
                    </a:lnTo>
                    <a:lnTo>
                      <a:pt x="20" y="64"/>
                    </a:lnTo>
                    <a:lnTo>
                      <a:pt x="24" y="56"/>
                    </a:lnTo>
                    <a:lnTo>
                      <a:pt x="28" y="38"/>
                    </a:lnTo>
                    <a:lnTo>
                      <a:pt x="28" y="24"/>
                    </a:lnTo>
                    <a:lnTo>
                      <a:pt x="26" y="1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3" name="Freeform 172"/>
              <p:cNvSpPr>
                <a:spLocks/>
              </p:cNvSpPr>
              <p:nvPr/>
            </p:nvSpPr>
            <p:spPr bwMode="auto">
              <a:xfrm>
                <a:off x="3640" y="1629"/>
                <a:ext cx="20" cy="88"/>
              </a:xfrm>
              <a:custGeom>
                <a:avLst/>
                <a:gdLst>
                  <a:gd name="T0" fmla="*/ 14 w 20"/>
                  <a:gd name="T1" fmla="*/ 0 h 88"/>
                  <a:gd name="T2" fmla="*/ 14 w 20"/>
                  <a:gd name="T3" fmla="*/ 0 h 88"/>
                  <a:gd name="T4" fmla="*/ 16 w 20"/>
                  <a:gd name="T5" fmla="*/ 4 h 88"/>
                  <a:gd name="T6" fmla="*/ 20 w 20"/>
                  <a:gd name="T7" fmla="*/ 18 h 88"/>
                  <a:gd name="T8" fmla="*/ 20 w 20"/>
                  <a:gd name="T9" fmla="*/ 32 h 88"/>
                  <a:gd name="T10" fmla="*/ 20 w 20"/>
                  <a:gd name="T11" fmla="*/ 40 h 88"/>
                  <a:gd name="T12" fmla="*/ 16 w 20"/>
                  <a:gd name="T13" fmla="*/ 46 h 88"/>
                  <a:gd name="T14" fmla="*/ 16 w 20"/>
                  <a:gd name="T15" fmla="*/ 46 h 88"/>
                  <a:gd name="T16" fmla="*/ 10 w 20"/>
                  <a:gd name="T17" fmla="*/ 56 h 88"/>
                  <a:gd name="T18" fmla="*/ 6 w 20"/>
                  <a:gd name="T19" fmla="*/ 66 h 88"/>
                  <a:gd name="T20" fmla="*/ 6 w 20"/>
                  <a:gd name="T21" fmla="*/ 74 h 88"/>
                  <a:gd name="T22" fmla="*/ 6 w 20"/>
                  <a:gd name="T23" fmla="*/ 80 h 88"/>
                  <a:gd name="T24" fmla="*/ 6 w 20"/>
                  <a:gd name="T25" fmla="*/ 80 h 88"/>
                  <a:gd name="T26" fmla="*/ 8 w 20"/>
                  <a:gd name="T27" fmla="*/ 86 h 88"/>
                  <a:gd name="T28" fmla="*/ 10 w 20"/>
                  <a:gd name="T29" fmla="*/ 88 h 88"/>
                  <a:gd name="T30" fmla="*/ 10 w 20"/>
                  <a:gd name="T31" fmla="*/ 88 h 88"/>
                  <a:gd name="T32" fmla="*/ 8 w 20"/>
                  <a:gd name="T33" fmla="*/ 86 h 88"/>
                  <a:gd name="T34" fmla="*/ 2 w 20"/>
                  <a:gd name="T35" fmla="*/ 80 h 88"/>
                  <a:gd name="T36" fmla="*/ 0 w 20"/>
                  <a:gd name="T37" fmla="*/ 76 h 88"/>
                  <a:gd name="T38" fmla="*/ 0 w 20"/>
                  <a:gd name="T39" fmla="*/ 70 h 88"/>
                  <a:gd name="T40" fmla="*/ 0 w 20"/>
                  <a:gd name="T41" fmla="*/ 64 h 88"/>
                  <a:gd name="T42" fmla="*/ 4 w 20"/>
                  <a:gd name="T43" fmla="*/ 58 h 88"/>
                  <a:gd name="T44" fmla="*/ 4 w 20"/>
                  <a:gd name="T45" fmla="*/ 58 h 88"/>
                  <a:gd name="T46" fmla="*/ 8 w 20"/>
                  <a:gd name="T47" fmla="*/ 48 h 88"/>
                  <a:gd name="T48" fmla="*/ 8 w 20"/>
                  <a:gd name="T49" fmla="*/ 48 h 88"/>
                  <a:gd name="T50" fmla="*/ 8 w 20"/>
                  <a:gd name="T51" fmla="*/ 46 h 88"/>
                  <a:gd name="T52" fmla="*/ 6 w 20"/>
                  <a:gd name="T53" fmla="*/ 46 h 88"/>
                  <a:gd name="T54" fmla="*/ 8 w 20"/>
                  <a:gd name="T55" fmla="*/ 42 h 88"/>
                  <a:gd name="T56" fmla="*/ 8 w 20"/>
                  <a:gd name="T57" fmla="*/ 42 h 88"/>
                  <a:gd name="T58" fmla="*/ 12 w 20"/>
                  <a:gd name="T59" fmla="*/ 36 h 88"/>
                  <a:gd name="T60" fmla="*/ 12 w 20"/>
                  <a:gd name="T61" fmla="*/ 30 h 88"/>
                  <a:gd name="T62" fmla="*/ 14 w 20"/>
                  <a:gd name="T63" fmla="*/ 16 h 88"/>
                  <a:gd name="T64" fmla="*/ 14 w 20"/>
                  <a:gd name="T65" fmla="*/ 0 h 88"/>
                  <a:gd name="T66" fmla="*/ 14 w 20"/>
                  <a:gd name="T67" fmla="*/ 0 h 8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0"/>
                  <a:gd name="T103" fmla="*/ 0 h 88"/>
                  <a:gd name="T104" fmla="*/ 20 w 20"/>
                  <a:gd name="T105" fmla="*/ 88 h 8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0" h="88">
                    <a:moveTo>
                      <a:pt x="14" y="0"/>
                    </a:moveTo>
                    <a:lnTo>
                      <a:pt x="14" y="0"/>
                    </a:lnTo>
                    <a:lnTo>
                      <a:pt x="16" y="4"/>
                    </a:lnTo>
                    <a:lnTo>
                      <a:pt x="20" y="18"/>
                    </a:lnTo>
                    <a:lnTo>
                      <a:pt x="20" y="32"/>
                    </a:lnTo>
                    <a:lnTo>
                      <a:pt x="20" y="40"/>
                    </a:lnTo>
                    <a:lnTo>
                      <a:pt x="16" y="46"/>
                    </a:lnTo>
                    <a:lnTo>
                      <a:pt x="10" y="56"/>
                    </a:lnTo>
                    <a:lnTo>
                      <a:pt x="6" y="66"/>
                    </a:lnTo>
                    <a:lnTo>
                      <a:pt x="6" y="74"/>
                    </a:lnTo>
                    <a:lnTo>
                      <a:pt x="6" y="80"/>
                    </a:lnTo>
                    <a:lnTo>
                      <a:pt x="8" y="86"/>
                    </a:lnTo>
                    <a:lnTo>
                      <a:pt x="10" y="88"/>
                    </a:lnTo>
                    <a:lnTo>
                      <a:pt x="8" y="86"/>
                    </a:lnTo>
                    <a:lnTo>
                      <a:pt x="2" y="80"/>
                    </a:lnTo>
                    <a:lnTo>
                      <a:pt x="0" y="76"/>
                    </a:lnTo>
                    <a:lnTo>
                      <a:pt x="0" y="70"/>
                    </a:lnTo>
                    <a:lnTo>
                      <a:pt x="0" y="64"/>
                    </a:lnTo>
                    <a:lnTo>
                      <a:pt x="4" y="5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8" y="42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14" y="16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4" name="Freeform 173"/>
              <p:cNvSpPr>
                <a:spLocks/>
              </p:cNvSpPr>
              <p:nvPr/>
            </p:nvSpPr>
            <p:spPr bwMode="auto">
              <a:xfrm>
                <a:off x="3672" y="1703"/>
                <a:ext cx="50" cy="44"/>
              </a:xfrm>
              <a:custGeom>
                <a:avLst/>
                <a:gdLst>
                  <a:gd name="T0" fmla="*/ 0 w 50"/>
                  <a:gd name="T1" fmla="*/ 24 h 44"/>
                  <a:gd name="T2" fmla="*/ 0 w 50"/>
                  <a:gd name="T3" fmla="*/ 24 h 44"/>
                  <a:gd name="T4" fmla="*/ 2 w 50"/>
                  <a:gd name="T5" fmla="*/ 30 h 44"/>
                  <a:gd name="T6" fmla="*/ 4 w 50"/>
                  <a:gd name="T7" fmla="*/ 34 h 44"/>
                  <a:gd name="T8" fmla="*/ 8 w 50"/>
                  <a:gd name="T9" fmla="*/ 36 h 44"/>
                  <a:gd name="T10" fmla="*/ 10 w 50"/>
                  <a:gd name="T11" fmla="*/ 38 h 44"/>
                  <a:gd name="T12" fmla="*/ 18 w 50"/>
                  <a:gd name="T13" fmla="*/ 36 h 44"/>
                  <a:gd name="T14" fmla="*/ 26 w 50"/>
                  <a:gd name="T15" fmla="*/ 30 h 44"/>
                  <a:gd name="T16" fmla="*/ 34 w 50"/>
                  <a:gd name="T17" fmla="*/ 24 h 44"/>
                  <a:gd name="T18" fmla="*/ 42 w 50"/>
                  <a:gd name="T19" fmla="*/ 14 h 44"/>
                  <a:gd name="T20" fmla="*/ 50 w 50"/>
                  <a:gd name="T21" fmla="*/ 0 h 44"/>
                  <a:gd name="T22" fmla="*/ 50 w 50"/>
                  <a:gd name="T23" fmla="*/ 0 h 44"/>
                  <a:gd name="T24" fmla="*/ 46 w 50"/>
                  <a:gd name="T25" fmla="*/ 12 h 44"/>
                  <a:gd name="T26" fmla="*/ 38 w 50"/>
                  <a:gd name="T27" fmla="*/ 26 h 44"/>
                  <a:gd name="T28" fmla="*/ 38 w 50"/>
                  <a:gd name="T29" fmla="*/ 26 h 44"/>
                  <a:gd name="T30" fmla="*/ 28 w 50"/>
                  <a:gd name="T31" fmla="*/ 36 h 44"/>
                  <a:gd name="T32" fmla="*/ 24 w 50"/>
                  <a:gd name="T33" fmla="*/ 40 h 44"/>
                  <a:gd name="T34" fmla="*/ 18 w 50"/>
                  <a:gd name="T35" fmla="*/ 42 h 44"/>
                  <a:gd name="T36" fmla="*/ 18 w 50"/>
                  <a:gd name="T37" fmla="*/ 42 h 44"/>
                  <a:gd name="T38" fmla="*/ 12 w 50"/>
                  <a:gd name="T39" fmla="*/ 44 h 44"/>
                  <a:gd name="T40" fmla="*/ 6 w 50"/>
                  <a:gd name="T41" fmla="*/ 40 h 44"/>
                  <a:gd name="T42" fmla="*/ 6 w 50"/>
                  <a:gd name="T43" fmla="*/ 40 h 44"/>
                  <a:gd name="T44" fmla="*/ 2 w 50"/>
                  <a:gd name="T45" fmla="*/ 36 h 44"/>
                  <a:gd name="T46" fmla="*/ 0 w 50"/>
                  <a:gd name="T47" fmla="*/ 30 h 44"/>
                  <a:gd name="T48" fmla="*/ 0 w 50"/>
                  <a:gd name="T49" fmla="*/ 24 h 44"/>
                  <a:gd name="T50" fmla="*/ 0 w 50"/>
                  <a:gd name="T51" fmla="*/ 24 h 4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0"/>
                  <a:gd name="T79" fmla="*/ 0 h 44"/>
                  <a:gd name="T80" fmla="*/ 50 w 50"/>
                  <a:gd name="T81" fmla="*/ 44 h 4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0" h="44">
                    <a:moveTo>
                      <a:pt x="0" y="24"/>
                    </a:moveTo>
                    <a:lnTo>
                      <a:pt x="0" y="24"/>
                    </a:lnTo>
                    <a:lnTo>
                      <a:pt x="2" y="30"/>
                    </a:lnTo>
                    <a:lnTo>
                      <a:pt x="4" y="34"/>
                    </a:lnTo>
                    <a:lnTo>
                      <a:pt x="8" y="36"/>
                    </a:lnTo>
                    <a:lnTo>
                      <a:pt x="10" y="38"/>
                    </a:lnTo>
                    <a:lnTo>
                      <a:pt x="18" y="36"/>
                    </a:lnTo>
                    <a:lnTo>
                      <a:pt x="26" y="30"/>
                    </a:lnTo>
                    <a:lnTo>
                      <a:pt x="34" y="24"/>
                    </a:lnTo>
                    <a:lnTo>
                      <a:pt x="42" y="14"/>
                    </a:lnTo>
                    <a:lnTo>
                      <a:pt x="50" y="0"/>
                    </a:lnTo>
                    <a:lnTo>
                      <a:pt x="46" y="12"/>
                    </a:lnTo>
                    <a:lnTo>
                      <a:pt x="38" y="26"/>
                    </a:lnTo>
                    <a:lnTo>
                      <a:pt x="28" y="36"/>
                    </a:lnTo>
                    <a:lnTo>
                      <a:pt x="24" y="40"/>
                    </a:lnTo>
                    <a:lnTo>
                      <a:pt x="18" y="42"/>
                    </a:lnTo>
                    <a:lnTo>
                      <a:pt x="12" y="44"/>
                    </a:lnTo>
                    <a:lnTo>
                      <a:pt x="6" y="40"/>
                    </a:lnTo>
                    <a:lnTo>
                      <a:pt x="2" y="36"/>
                    </a:lnTo>
                    <a:lnTo>
                      <a:pt x="0" y="3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5" name="Freeform 174"/>
              <p:cNvSpPr>
                <a:spLocks/>
              </p:cNvSpPr>
              <p:nvPr/>
            </p:nvSpPr>
            <p:spPr bwMode="auto">
              <a:xfrm>
                <a:off x="3576" y="1665"/>
                <a:ext cx="120" cy="136"/>
              </a:xfrm>
              <a:custGeom>
                <a:avLst/>
                <a:gdLst>
                  <a:gd name="T0" fmla="*/ 6 w 120"/>
                  <a:gd name="T1" fmla="*/ 62 h 136"/>
                  <a:gd name="T2" fmla="*/ 6 w 120"/>
                  <a:gd name="T3" fmla="*/ 62 h 136"/>
                  <a:gd name="T4" fmla="*/ 12 w 120"/>
                  <a:gd name="T5" fmla="*/ 52 h 136"/>
                  <a:gd name="T6" fmla="*/ 24 w 120"/>
                  <a:gd name="T7" fmla="*/ 32 h 136"/>
                  <a:gd name="T8" fmla="*/ 40 w 120"/>
                  <a:gd name="T9" fmla="*/ 10 h 136"/>
                  <a:gd name="T10" fmla="*/ 50 w 120"/>
                  <a:gd name="T11" fmla="*/ 4 h 136"/>
                  <a:gd name="T12" fmla="*/ 56 w 120"/>
                  <a:gd name="T13" fmla="*/ 0 h 136"/>
                  <a:gd name="T14" fmla="*/ 56 w 120"/>
                  <a:gd name="T15" fmla="*/ 0 h 136"/>
                  <a:gd name="T16" fmla="*/ 64 w 120"/>
                  <a:gd name="T17" fmla="*/ 0 h 136"/>
                  <a:gd name="T18" fmla="*/ 72 w 120"/>
                  <a:gd name="T19" fmla="*/ 0 h 136"/>
                  <a:gd name="T20" fmla="*/ 88 w 120"/>
                  <a:gd name="T21" fmla="*/ 6 h 136"/>
                  <a:gd name="T22" fmla="*/ 102 w 120"/>
                  <a:gd name="T23" fmla="*/ 16 h 136"/>
                  <a:gd name="T24" fmla="*/ 114 w 120"/>
                  <a:gd name="T25" fmla="*/ 24 h 136"/>
                  <a:gd name="T26" fmla="*/ 114 w 120"/>
                  <a:gd name="T27" fmla="*/ 24 h 136"/>
                  <a:gd name="T28" fmla="*/ 118 w 120"/>
                  <a:gd name="T29" fmla="*/ 28 h 136"/>
                  <a:gd name="T30" fmla="*/ 120 w 120"/>
                  <a:gd name="T31" fmla="*/ 32 h 136"/>
                  <a:gd name="T32" fmla="*/ 120 w 120"/>
                  <a:gd name="T33" fmla="*/ 36 h 136"/>
                  <a:gd name="T34" fmla="*/ 120 w 120"/>
                  <a:gd name="T35" fmla="*/ 40 h 136"/>
                  <a:gd name="T36" fmla="*/ 114 w 120"/>
                  <a:gd name="T37" fmla="*/ 48 h 136"/>
                  <a:gd name="T38" fmla="*/ 102 w 120"/>
                  <a:gd name="T39" fmla="*/ 54 h 136"/>
                  <a:gd name="T40" fmla="*/ 102 w 120"/>
                  <a:gd name="T41" fmla="*/ 54 h 136"/>
                  <a:gd name="T42" fmla="*/ 96 w 120"/>
                  <a:gd name="T43" fmla="*/ 56 h 136"/>
                  <a:gd name="T44" fmla="*/ 90 w 120"/>
                  <a:gd name="T45" fmla="*/ 58 h 136"/>
                  <a:gd name="T46" fmla="*/ 78 w 120"/>
                  <a:gd name="T47" fmla="*/ 56 h 136"/>
                  <a:gd name="T48" fmla="*/ 70 w 120"/>
                  <a:gd name="T49" fmla="*/ 52 h 136"/>
                  <a:gd name="T50" fmla="*/ 68 w 120"/>
                  <a:gd name="T51" fmla="*/ 50 h 136"/>
                  <a:gd name="T52" fmla="*/ 64 w 120"/>
                  <a:gd name="T53" fmla="*/ 74 h 136"/>
                  <a:gd name="T54" fmla="*/ 64 w 120"/>
                  <a:gd name="T55" fmla="*/ 74 h 136"/>
                  <a:gd name="T56" fmla="*/ 72 w 120"/>
                  <a:gd name="T57" fmla="*/ 82 h 136"/>
                  <a:gd name="T58" fmla="*/ 80 w 120"/>
                  <a:gd name="T59" fmla="*/ 90 h 136"/>
                  <a:gd name="T60" fmla="*/ 84 w 120"/>
                  <a:gd name="T61" fmla="*/ 102 h 136"/>
                  <a:gd name="T62" fmla="*/ 84 w 120"/>
                  <a:gd name="T63" fmla="*/ 102 h 136"/>
                  <a:gd name="T64" fmla="*/ 86 w 120"/>
                  <a:gd name="T65" fmla="*/ 122 h 136"/>
                  <a:gd name="T66" fmla="*/ 86 w 120"/>
                  <a:gd name="T67" fmla="*/ 130 h 136"/>
                  <a:gd name="T68" fmla="*/ 84 w 120"/>
                  <a:gd name="T69" fmla="*/ 132 h 136"/>
                  <a:gd name="T70" fmla="*/ 82 w 120"/>
                  <a:gd name="T71" fmla="*/ 134 h 136"/>
                  <a:gd name="T72" fmla="*/ 82 w 120"/>
                  <a:gd name="T73" fmla="*/ 134 h 136"/>
                  <a:gd name="T74" fmla="*/ 78 w 120"/>
                  <a:gd name="T75" fmla="*/ 136 h 136"/>
                  <a:gd name="T76" fmla="*/ 70 w 120"/>
                  <a:gd name="T77" fmla="*/ 134 h 136"/>
                  <a:gd name="T78" fmla="*/ 50 w 120"/>
                  <a:gd name="T79" fmla="*/ 130 h 136"/>
                  <a:gd name="T80" fmla="*/ 28 w 120"/>
                  <a:gd name="T81" fmla="*/ 122 h 136"/>
                  <a:gd name="T82" fmla="*/ 18 w 120"/>
                  <a:gd name="T83" fmla="*/ 116 h 136"/>
                  <a:gd name="T84" fmla="*/ 12 w 120"/>
                  <a:gd name="T85" fmla="*/ 112 h 136"/>
                  <a:gd name="T86" fmla="*/ 12 w 120"/>
                  <a:gd name="T87" fmla="*/ 112 h 136"/>
                  <a:gd name="T88" fmla="*/ 6 w 120"/>
                  <a:gd name="T89" fmla="*/ 106 h 136"/>
                  <a:gd name="T90" fmla="*/ 2 w 120"/>
                  <a:gd name="T91" fmla="*/ 100 h 136"/>
                  <a:gd name="T92" fmla="*/ 0 w 120"/>
                  <a:gd name="T93" fmla="*/ 92 h 136"/>
                  <a:gd name="T94" fmla="*/ 0 w 120"/>
                  <a:gd name="T95" fmla="*/ 84 h 136"/>
                  <a:gd name="T96" fmla="*/ 0 w 120"/>
                  <a:gd name="T97" fmla="*/ 70 h 136"/>
                  <a:gd name="T98" fmla="*/ 2 w 120"/>
                  <a:gd name="T99" fmla="*/ 64 h 136"/>
                  <a:gd name="T100" fmla="*/ 6 w 120"/>
                  <a:gd name="T101" fmla="*/ 62 h 136"/>
                  <a:gd name="T102" fmla="*/ 6 w 120"/>
                  <a:gd name="T103" fmla="*/ 62 h 1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0"/>
                  <a:gd name="T157" fmla="*/ 0 h 136"/>
                  <a:gd name="T158" fmla="*/ 120 w 120"/>
                  <a:gd name="T159" fmla="*/ 136 h 1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0" h="136">
                    <a:moveTo>
                      <a:pt x="6" y="62"/>
                    </a:moveTo>
                    <a:lnTo>
                      <a:pt x="6" y="62"/>
                    </a:lnTo>
                    <a:lnTo>
                      <a:pt x="12" y="52"/>
                    </a:lnTo>
                    <a:lnTo>
                      <a:pt x="24" y="32"/>
                    </a:lnTo>
                    <a:lnTo>
                      <a:pt x="40" y="10"/>
                    </a:lnTo>
                    <a:lnTo>
                      <a:pt x="50" y="4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8" y="6"/>
                    </a:lnTo>
                    <a:lnTo>
                      <a:pt x="102" y="16"/>
                    </a:lnTo>
                    <a:lnTo>
                      <a:pt x="114" y="24"/>
                    </a:lnTo>
                    <a:lnTo>
                      <a:pt x="118" y="28"/>
                    </a:lnTo>
                    <a:lnTo>
                      <a:pt x="120" y="32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56"/>
                    </a:lnTo>
                    <a:lnTo>
                      <a:pt x="90" y="58"/>
                    </a:lnTo>
                    <a:lnTo>
                      <a:pt x="78" y="56"/>
                    </a:lnTo>
                    <a:lnTo>
                      <a:pt x="70" y="52"/>
                    </a:lnTo>
                    <a:lnTo>
                      <a:pt x="68" y="50"/>
                    </a:lnTo>
                    <a:lnTo>
                      <a:pt x="64" y="74"/>
                    </a:lnTo>
                    <a:lnTo>
                      <a:pt x="72" y="82"/>
                    </a:lnTo>
                    <a:lnTo>
                      <a:pt x="80" y="90"/>
                    </a:lnTo>
                    <a:lnTo>
                      <a:pt x="84" y="102"/>
                    </a:lnTo>
                    <a:lnTo>
                      <a:pt x="86" y="122"/>
                    </a:lnTo>
                    <a:lnTo>
                      <a:pt x="86" y="130"/>
                    </a:lnTo>
                    <a:lnTo>
                      <a:pt x="84" y="132"/>
                    </a:lnTo>
                    <a:lnTo>
                      <a:pt x="82" y="134"/>
                    </a:lnTo>
                    <a:lnTo>
                      <a:pt x="78" y="136"/>
                    </a:lnTo>
                    <a:lnTo>
                      <a:pt x="70" y="134"/>
                    </a:lnTo>
                    <a:lnTo>
                      <a:pt x="50" y="130"/>
                    </a:lnTo>
                    <a:lnTo>
                      <a:pt x="28" y="122"/>
                    </a:lnTo>
                    <a:lnTo>
                      <a:pt x="18" y="116"/>
                    </a:lnTo>
                    <a:lnTo>
                      <a:pt x="12" y="112"/>
                    </a:lnTo>
                    <a:lnTo>
                      <a:pt x="6" y="106"/>
                    </a:lnTo>
                    <a:lnTo>
                      <a:pt x="2" y="100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0"/>
                    </a:lnTo>
                    <a:lnTo>
                      <a:pt x="2" y="64"/>
                    </a:lnTo>
                    <a:lnTo>
                      <a:pt x="6" y="6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6" name="Freeform 175"/>
              <p:cNvSpPr>
                <a:spLocks noEditPoints="1"/>
              </p:cNvSpPr>
              <p:nvPr/>
            </p:nvSpPr>
            <p:spPr bwMode="auto">
              <a:xfrm>
                <a:off x="3572" y="1659"/>
                <a:ext cx="128" cy="146"/>
              </a:xfrm>
              <a:custGeom>
                <a:avLst/>
                <a:gdLst>
                  <a:gd name="T0" fmla="*/ 12 w 128"/>
                  <a:gd name="T1" fmla="*/ 56 h 146"/>
                  <a:gd name="T2" fmla="*/ 6 w 128"/>
                  <a:gd name="T3" fmla="*/ 64 h 146"/>
                  <a:gd name="T4" fmla="*/ 2 w 128"/>
                  <a:gd name="T5" fmla="*/ 68 h 146"/>
                  <a:gd name="T6" fmla="*/ 0 w 128"/>
                  <a:gd name="T7" fmla="*/ 86 h 146"/>
                  <a:gd name="T8" fmla="*/ 0 w 128"/>
                  <a:gd name="T9" fmla="*/ 94 h 146"/>
                  <a:gd name="T10" fmla="*/ 2 w 128"/>
                  <a:gd name="T11" fmla="*/ 106 h 146"/>
                  <a:gd name="T12" fmla="*/ 14 w 128"/>
                  <a:gd name="T13" fmla="*/ 120 h 146"/>
                  <a:gd name="T14" fmla="*/ 20 w 128"/>
                  <a:gd name="T15" fmla="*/ 126 h 146"/>
                  <a:gd name="T16" fmla="*/ 50 w 128"/>
                  <a:gd name="T17" fmla="*/ 140 h 146"/>
                  <a:gd name="T18" fmla="*/ 78 w 128"/>
                  <a:gd name="T19" fmla="*/ 146 h 146"/>
                  <a:gd name="T20" fmla="*/ 84 w 128"/>
                  <a:gd name="T21" fmla="*/ 146 h 146"/>
                  <a:gd name="T22" fmla="*/ 90 w 128"/>
                  <a:gd name="T23" fmla="*/ 140 h 146"/>
                  <a:gd name="T24" fmla="*/ 94 w 128"/>
                  <a:gd name="T25" fmla="*/ 118 h 146"/>
                  <a:gd name="T26" fmla="*/ 92 w 128"/>
                  <a:gd name="T27" fmla="*/ 106 h 146"/>
                  <a:gd name="T28" fmla="*/ 92 w 128"/>
                  <a:gd name="T29" fmla="*/ 102 h 146"/>
                  <a:gd name="T30" fmla="*/ 82 w 128"/>
                  <a:gd name="T31" fmla="*/ 88 h 146"/>
                  <a:gd name="T32" fmla="*/ 72 w 128"/>
                  <a:gd name="T33" fmla="*/ 78 h 146"/>
                  <a:gd name="T34" fmla="*/ 74 w 128"/>
                  <a:gd name="T35" fmla="*/ 64 h 146"/>
                  <a:gd name="T36" fmla="*/ 88 w 128"/>
                  <a:gd name="T37" fmla="*/ 68 h 146"/>
                  <a:gd name="T38" fmla="*/ 108 w 128"/>
                  <a:gd name="T39" fmla="*/ 64 h 146"/>
                  <a:gd name="T40" fmla="*/ 116 w 128"/>
                  <a:gd name="T41" fmla="*/ 60 h 146"/>
                  <a:gd name="T42" fmla="*/ 126 w 128"/>
                  <a:gd name="T43" fmla="*/ 50 h 146"/>
                  <a:gd name="T44" fmla="*/ 128 w 128"/>
                  <a:gd name="T45" fmla="*/ 44 h 146"/>
                  <a:gd name="T46" fmla="*/ 128 w 128"/>
                  <a:gd name="T47" fmla="*/ 36 h 146"/>
                  <a:gd name="T48" fmla="*/ 120 w 128"/>
                  <a:gd name="T49" fmla="*/ 26 h 146"/>
                  <a:gd name="T50" fmla="*/ 98 w 128"/>
                  <a:gd name="T51" fmla="*/ 12 h 146"/>
                  <a:gd name="T52" fmla="*/ 80 w 128"/>
                  <a:gd name="T53" fmla="*/ 2 h 146"/>
                  <a:gd name="T54" fmla="*/ 60 w 128"/>
                  <a:gd name="T55" fmla="*/ 2 h 146"/>
                  <a:gd name="T56" fmla="*/ 54 w 128"/>
                  <a:gd name="T57" fmla="*/ 4 h 146"/>
                  <a:gd name="T58" fmla="*/ 36 w 128"/>
                  <a:gd name="T59" fmla="*/ 20 h 146"/>
                  <a:gd name="T60" fmla="*/ 12 w 128"/>
                  <a:gd name="T61" fmla="*/ 56 h 146"/>
                  <a:gd name="T62" fmla="*/ 20 w 128"/>
                  <a:gd name="T63" fmla="*/ 60 h 146"/>
                  <a:gd name="T64" fmla="*/ 40 w 128"/>
                  <a:gd name="T65" fmla="*/ 30 h 146"/>
                  <a:gd name="T66" fmla="*/ 56 w 128"/>
                  <a:gd name="T67" fmla="*/ 12 h 146"/>
                  <a:gd name="T68" fmla="*/ 62 w 128"/>
                  <a:gd name="T69" fmla="*/ 10 h 146"/>
                  <a:gd name="T70" fmla="*/ 76 w 128"/>
                  <a:gd name="T71" fmla="*/ 10 h 146"/>
                  <a:gd name="T72" fmla="*/ 104 w 128"/>
                  <a:gd name="T73" fmla="*/ 24 h 146"/>
                  <a:gd name="T74" fmla="*/ 116 w 128"/>
                  <a:gd name="T75" fmla="*/ 34 h 146"/>
                  <a:gd name="T76" fmla="*/ 120 w 128"/>
                  <a:gd name="T77" fmla="*/ 44 h 146"/>
                  <a:gd name="T78" fmla="*/ 118 w 128"/>
                  <a:gd name="T79" fmla="*/ 46 h 146"/>
                  <a:gd name="T80" fmla="*/ 104 w 128"/>
                  <a:gd name="T81" fmla="*/ 56 h 146"/>
                  <a:gd name="T82" fmla="*/ 100 w 128"/>
                  <a:gd name="T83" fmla="*/ 58 h 146"/>
                  <a:gd name="T84" fmla="*/ 84 w 128"/>
                  <a:gd name="T85" fmla="*/ 58 h 146"/>
                  <a:gd name="T86" fmla="*/ 68 w 128"/>
                  <a:gd name="T87" fmla="*/ 50 h 146"/>
                  <a:gd name="T88" fmla="*/ 62 w 128"/>
                  <a:gd name="T89" fmla="*/ 82 h 146"/>
                  <a:gd name="T90" fmla="*/ 64 w 128"/>
                  <a:gd name="T91" fmla="*/ 84 h 146"/>
                  <a:gd name="T92" fmla="*/ 80 w 128"/>
                  <a:gd name="T93" fmla="*/ 98 h 146"/>
                  <a:gd name="T94" fmla="*/ 84 w 128"/>
                  <a:gd name="T95" fmla="*/ 108 h 146"/>
                  <a:gd name="T96" fmla="*/ 86 w 128"/>
                  <a:gd name="T97" fmla="*/ 132 h 146"/>
                  <a:gd name="T98" fmla="*/ 84 w 128"/>
                  <a:gd name="T99" fmla="*/ 136 h 146"/>
                  <a:gd name="T100" fmla="*/ 54 w 128"/>
                  <a:gd name="T101" fmla="*/ 130 h 146"/>
                  <a:gd name="T102" fmla="*/ 26 w 128"/>
                  <a:gd name="T103" fmla="*/ 118 h 146"/>
                  <a:gd name="T104" fmla="*/ 18 w 128"/>
                  <a:gd name="T105" fmla="*/ 114 h 146"/>
                  <a:gd name="T106" fmla="*/ 18 w 128"/>
                  <a:gd name="T107" fmla="*/ 114 h 146"/>
                  <a:gd name="T108" fmla="*/ 12 w 128"/>
                  <a:gd name="T109" fmla="*/ 104 h 146"/>
                  <a:gd name="T110" fmla="*/ 8 w 128"/>
                  <a:gd name="T111" fmla="*/ 90 h 146"/>
                  <a:gd name="T112" fmla="*/ 10 w 128"/>
                  <a:gd name="T113" fmla="*/ 76 h 146"/>
                  <a:gd name="T114" fmla="*/ 12 w 128"/>
                  <a:gd name="T115" fmla="*/ 72 h 146"/>
                  <a:gd name="T116" fmla="*/ 20 w 128"/>
                  <a:gd name="T117" fmla="*/ 60 h 146"/>
                  <a:gd name="T118" fmla="*/ 14 w 128"/>
                  <a:gd name="T119" fmla="*/ 122 h 146"/>
                  <a:gd name="T120" fmla="*/ 14 w 128"/>
                  <a:gd name="T121" fmla="*/ 120 h 146"/>
                  <a:gd name="T122" fmla="*/ 12 w 128"/>
                  <a:gd name="T123" fmla="*/ 120 h 1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28"/>
                  <a:gd name="T187" fmla="*/ 0 h 146"/>
                  <a:gd name="T188" fmla="*/ 128 w 128"/>
                  <a:gd name="T189" fmla="*/ 146 h 14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28" h="146">
                    <a:moveTo>
                      <a:pt x="12" y="56"/>
                    </a:moveTo>
                    <a:lnTo>
                      <a:pt x="12" y="56"/>
                    </a:lnTo>
                    <a:lnTo>
                      <a:pt x="6" y="64"/>
                    </a:lnTo>
                    <a:lnTo>
                      <a:pt x="2" y="68"/>
                    </a:lnTo>
                    <a:lnTo>
                      <a:pt x="0" y="74"/>
                    </a:lnTo>
                    <a:lnTo>
                      <a:pt x="0" y="86"/>
                    </a:lnTo>
                    <a:lnTo>
                      <a:pt x="0" y="94"/>
                    </a:lnTo>
                    <a:lnTo>
                      <a:pt x="2" y="106"/>
                    </a:lnTo>
                    <a:lnTo>
                      <a:pt x="6" y="114"/>
                    </a:lnTo>
                    <a:lnTo>
                      <a:pt x="14" y="120"/>
                    </a:lnTo>
                    <a:lnTo>
                      <a:pt x="20" y="126"/>
                    </a:lnTo>
                    <a:lnTo>
                      <a:pt x="28" y="130"/>
                    </a:lnTo>
                    <a:lnTo>
                      <a:pt x="50" y="140"/>
                    </a:lnTo>
                    <a:lnTo>
                      <a:pt x="70" y="146"/>
                    </a:lnTo>
                    <a:lnTo>
                      <a:pt x="78" y="146"/>
                    </a:lnTo>
                    <a:lnTo>
                      <a:pt x="84" y="146"/>
                    </a:lnTo>
                    <a:lnTo>
                      <a:pt x="86" y="142"/>
                    </a:lnTo>
                    <a:lnTo>
                      <a:pt x="90" y="140"/>
                    </a:lnTo>
                    <a:lnTo>
                      <a:pt x="92" y="130"/>
                    </a:lnTo>
                    <a:lnTo>
                      <a:pt x="94" y="118"/>
                    </a:lnTo>
                    <a:lnTo>
                      <a:pt x="92" y="106"/>
                    </a:lnTo>
                    <a:lnTo>
                      <a:pt x="92" y="102"/>
                    </a:lnTo>
                    <a:lnTo>
                      <a:pt x="88" y="94"/>
                    </a:lnTo>
                    <a:lnTo>
                      <a:pt x="82" y="88"/>
                    </a:lnTo>
                    <a:lnTo>
                      <a:pt x="72" y="78"/>
                    </a:lnTo>
                    <a:lnTo>
                      <a:pt x="74" y="64"/>
                    </a:lnTo>
                    <a:lnTo>
                      <a:pt x="80" y="66"/>
                    </a:lnTo>
                    <a:lnTo>
                      <a:pt x="88" y="68"/>
                    </a:lnTo>
                    <a:lnTo>
                      <a:pt x="98" y="68"/>
                    </a:lnTo>
                    <a:lnTo>
                      <a:pt x="108" y="64"/>
                    </a:lnTo>
                    <a:lnTo>
                      <a:pt x="116" y="60"/>
                    </a:lnTo>
                    <a:lnTo>
                      <a:pt x="122" y="56"/>
                    </a:lnTo>
                    <a:lnTo>
                      <a:pt x="126" y="50"/>
                    </a:lnTo>
                    <a:lnTo>
                      <a:pt x="128" y="44"/>
                    </a:lnTo>
                    <a:lnTo>
                      <a:pt x="128" y="40"/>
                    </a:lnTo>
                    <a:lnTo>
                      <a:pt x="128" y="36"/>
                    </a:lnTo>
                    <a:lnTo>
                      <a:pt x="120" y="26"/>
                    </a:lnTo>
                    <a:lnTo>
                      <a:pt x="114" y="20"/>
                    </a:lnTo>
                    <a:lnTo>
                      <a:pt x="98" y="12"/>
                    </a:lnTo>
                    <a:lnTo>
                      <a:pt x="90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60" y="2"/>
                    </a:lnTo>
                    <a:lnTo>
                      <a:pt x="54" y="4"/>
                    </a:lnTo>
                    <a:lnTo>
                      <a:pt x="48" y="8"/>
                    </a:lnTo>
                    <a:lnTo>
                      <a:pt x="36" y="20"/>
                    </a:lnTo>
                    <a:lnTo>
                      <a:pt x="24" y="36"/>
                    </a:lnTo>
                    <a:lnTo>
                      <a:pt x="12" y="56"/>
                    </a:lnTo>
                    <a:close/>
                    <a:moveTo>
                      <a:pt x="20" y="60"/>
                    </a:moveTo>
                    <a:lnTo>
                      <a:pt x="20" y="60"/>
                    </a:lnTo>
                    <a:lnTo>
                      <a:pt x="40" y="30"/>
                    </a:lnTo>
                    <a:lnTo>
                      <a:pt x="50" y="16"/>
                    </a:lnTo>
                    <a:lnTo>
                      <a:pt x="56" y="12"/>
                    </a:lnTo>
                    <a:lnTo>
                      <a:pt x="62" y="10"/>
                    </a:lnTo>
                    <a:lnTo>
                      <a:pt x="68" y="10"/>
                    </a:lnTo>
                    <a:lnTo>
                      <a:pt x="76" y="10"/>
                    </a:lnTo>
                    <a:lnTo>
                      <a:pt x="90" y="16"/>
                    </a:lnTo>
                    <a:lnTo>
                      <a:pt x="104" y="24"/>
                    </a:lnTo>
                    <a:lnTo>
                      <a:pt x="116" y="34"/>
                    </a:lnTo>
                    <a:lnTo>
                      <a:pt x="118" y="38"/>
                    </a:lnTo>
                    <a:lnTo>
                      <a:pt x="120" y="44"/>
                    </a:lnTo>
                    <a:lnTo>
                      <a:pt x="118" y="46"/>
                    </a:lnTo>
                    <a:lnTo>
                      <a:pt x="116" y="50"/>
                    </a:lnTo>
                    <a:lnTo>
                      <a:pt x="104" y="56"/>
                    </a:lnTo>
                    <a:lnTo>
                      <a:pt x="100" y="58"/>
                    </a:lnTo>
                    <a:lnTo>
                      <a:pt x="94" y="58"/>
                    </a:lnTo>
                    <a:lnTo>
                      <a:pt x="84" y="58"/>
                    </a:lnTo>
                    <a:lnTo>
                      <a:pt x="74" y="54"/>
                    </a:lnTo>
                    <a:lnTo>
                      <a:pt x="68" y="50"/>
                    </a:lnTo>
                    <a:lnTo>
                      <a:pt x="66" y="56"/>
                    </a:lnTo>
                    <a:lnTo>
                      <a:pt x="62" y="82"/>
                    </a:lnTo>
                    <a:lnTo>
                      <a:pt x="64" y="84"/>
                    </a:lnTo>
                    <a:lnTo>
                      <a:pt x="74" y="90"/>
                    </a:lnTo>
                    <a:lnTo>
                      <a:pt x="80" y="98"/>
                    </a:lnTo>
                    <a:lnTo>
                      <a:pt x="84" y="108"/>
                    </a:lnTo>
                    <a:lnTo>
                      <a:pt x="86" y="124"/>
                    </a:lnTo>
                    <a:lnTo>
                      <a:pt x="86" y="132"/>
                    </a:lnTo>
                    <a:lnTo>
                      <a:pt x="84" y="136"/>
                    </a:lnTo>
                    <a:lnTo>
                      <a:pt x="74" y="136"/>
                    </a:lnTo>
                    <a:lnTo>
                      <a:pt x="54" y="130"/>
                    </a:lnTo>
                    <a:lnTo>
                      <a:pt x="34" y="124"/>
                    </a:lnTo>
                    <a:lnTo>
                      <a:pt x="26" y="118"/>
                    </a:lnTo>
                    <a:lnTo>
                      <a:pt x="18" y="114"/>
                    </a:lnTo>
                    <a:lnTo>
                      <a:pt x="14" y="110"/>
                    </a:lnTo>
                    <a:lnTo>
                      <a:pt x="12" y="104"/>
                    </a:lnTo>
                    <a:lnTo>
                      <a:pt x="8" y="98"/>
                    </a:lnTo>
                    <a:lnTo>
                      <a:pt x="8" y="90"/>
                    </a:lnTo>
                    <a:lnTo>
                      <a:pt x="10" y="76"/>
                    </a:lnTo>
                    <a:lnTo>
                      <a:pt x="12" y="72"/>
                    </a:lnTo>
                    <a:lnTo>
                      <a:pt x="20" y="60"/>
                    </a:lnTo>
                    <a:close/>
                    <a:moveTo>
                      <a:pt x="14" y="122"/>
                    </a:moveTo>
                    <a:lnTo>
                      <a:pt x="14" y="122"/>
                    </a:lnTo>
                    <a:lnTo>
                      <a:pt x="14" y="120"/>
                    </a:lnTo>
                    <a:lnTo>
                      <a:pt x="12" y="120"/>
                    </a:lnTo>
                    <a:lnTo>
                      <a:pt x="14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7" name="Freeform 176"/>
              <p:cNvSpPr>
                <a:spLocks/>
              </p:cNvSpPr>
              <p:nvPr/>
            </p:nvSpPr>
            <p:spPr bwMode="auto">
              <a:xfrm>
                <a:off x="3568" y="1667"/>
                <a:ext cx="128" cy="146"/>
              </a:xfrm>
              <a:custGeom>
                <a:avLst/>
                <a:gdLst>
                  <a:gd name="T0" fmla="*/ 2 w 128"/>
                  <a:gd name="T1" fmla="*/ 72 h 146"/>
                  <a:gd name="T2" fmla="*/ 2 w 128"/>
                  <a:gd name="T3" fmla="*/ 72 h 146"/>
                  <a:gd name="T4" fmla="*/ 28 w 128"/>
                  <a:gd name="T5" fmla="*/ 36 h 146"/>
                  <a:gd name="T6" fmla="*/ 48 w 128"/>
                  <a:gd name="T7" fmla="*/ 14 h 146"/>
                  <a:gd name="T8" fmla="*/ 58 w 128"/>
                  <a:gd name="T9" fmla="*/ 4 h 146"/>
                  <a:gd name="T10" fmla="*/ 66 w 128"/>
                  <a:gd name="T11" fmla="*/ 0 h 146"/>
                  <a:gd name="T12" fmla="*/ 66 w 128"/>
                  <a:gd name="T13" fmla="*/ 0 h 146"/>
                  <a:gd name="T14" fmla="*/ 74 w 128"/>
                  <a:gd name="T15" fmla="*/ 0 h 146"/>
                  <a:gd name="T16" fmla="*/ 82 w 128"/>
                  <a:gd name="T17" fmla="*/ 2 h 146"/>
                  <a:gd name="T18" fmla="*/ 98 w 128"/>
                  <a:gd name="T19" fmla="*/ 6 h 146"/>
                  <a:gd name="T20" fmla="*/ 112 w 128"/>
                  <a:gd name="T21" fmla="*/ 14 h 146"/>
                  <a:gd name="T22" fmla="*/ 122 w 128"/>
                  <a:gd name="T23" fmla="*/ 22 h 146"/>
                  <a:gd name="T24" fmla="*/ 122 w 128"/>
                  <a:gd name="T25" fmla="*/ 22 h 146"/>
                  <a:gd name="T26" fmla="*/ 126 w 128"/>
                  <a:gd name="T27" fmla="*/ 26 h 146"/>
                  <a:gd name="T28" fmla="*/ 128 w 128"/>
                  <a:gd name="T29" fmla="*/ 30 h 146"/>
                  <a:gd name="T30" fmla="*/ 128 w 128"/>
                  <a:gd name="T31" fmla="*/ 34 h 146"/>
                  <a:gd name="T32" fmla="*/ 128 w 128"/>
                  <a:gd name="T33" fmla="*/ 38 h 146"/>
                  <a:gd name="T34" fmla="*/ 122 w 128"/>
                  <a:gd name="T35" fmla="*/ 44 h 146"/>
                  <a:gd name="T36" fmla="*/ 110 w 128"/>
                  <a:gd name="T37" fmla="*/ 50 h 146"/>
                  <a:gd name="T38" fmla="*/ 110 w 128"/>
                  <a:gd name="T39" fmla="*/ 50 h 146"/>
                  <a:gd name="T40" fmla="*/ 104 w 128"/>
                  <a:gd name="T41" fmla="*/ 52 h 146"/>
                  <a:gd name="T42" fmla="*/ 98 w 128"/>
                  <a:gd name="T43" fmla="*/ 52 h 146"/>
                  <a:gd name="T44" fmla="*/ 86 w 128"/>
                  <a:gd name="T45" fmla="*/ 50 h 146"/>
                  <a:gd name="T46" fmla="*/ 78 w 128"/>
                  <a:gd name="T47" fmla="*/ 48 h 146"/>
                  <a:gd name="T48" fmla="*/ 74 w 128"/>
                  <a:gd name="T49" fmla="*/ 46 h 146"/>
                  <a:gd name="T50" fmla="*/ 68 w 128"/>
                  <a:gd name="T51" fmla="*/ 72 h 146"/>
                  <a:gd name="T52" fmla="*/ 68 w 128"/>
                  <a:gd name="T53" fmla="*/ 72 h 146"/>
                  <a:gd name="T54" fmla="*/ 78 w 128"/>
                  <a:gd name="T55" fmla="*/ 80 h 146"/>
                  <a:gd name="T56" fmla="*/ 86 w 128"/>
                  <a:gd name="T57" fmla="*/ 90 h 146"/>
                  <a:gd name="T58" fmla="*/ 88 w 128"/>
                  <a:gd name="T59" fmla="*/ 96 h 146"/>
                  <a:gd name="T60" fmla="*/ 90 w 128"/>
                  <a:gd name="T61" fmla="*/ 102 h 146"/>
                  <a:gd name="T62" fmla="*/ 90 w 128"/>
                  <a:gd name="T63" fmla="*/ 102 h 146"/>
                  <a:gd name="T64" fmla="*/ 92 w 128"/>
                  <a:gd name="T65" fmla="*/ 114 h 146"/>
                  <a:gd name="T66" fmla="*/ 92 w 128"/>
                  <a:gd name="T67" fmla="*/ 128 h 146"/>
                  <a:gd name="T68" fmla="*/ 92 w 128"/>
                  <a:gd name="T69" fmla="*/ 138 h 146"/>
                  <a:gd name="T70" fmla="*/ 90 w 128"/>
                  <a:gd name="T71" fmla="*/ 142 h 146"/>
                  <a:gd name="T72" fmla="*/ 88 w 128"/>
                  <a:gd name="T73" fmla="*/ 144 h 146"/>
                  <a:gd name="T74" fmla="*/ 88 w 128"/>
                  <a:gd name="T75" fmla="*/ 144 h 146"/>
                  <a:gd name="T76" fmla="*/ 84 w 128"/>
                  <a:gd name="T77" fmla="*/ 146 h 146"/>
                  <a:gd name="T78" fmla="*/ 76 w 128"/>
                  <a:gd name="T79" fmla="*/ 146 h 146"/>
                  <a:gd name="T80" fmla="*/ 58 w 128"/>
                  <a:gd name="T81" fmla="*/ 142 h 146"/>
                  <a:gd name="T82" fmla="*/ 36 w 128"/>
                  <a:gd name="T83" fmla="*/ 136 h 146"/>
                  <a:gd name="T84" fmla="*/ 28 w 128"/>
                  <a:gd name="T85" fmla="*/ 130 h 146"/>
                  <a:gd name="T86" fmla="*/ 22 w 128"/>
                  <a:gd name="T87" fmla="*/ 126 h 146"/>
                  <a:gd name="T88" fmla="*/ 22 w 128"/>
                  <a:gd name="T89" fmla="*/ 126 h 146"/>
                  <a:gd name="T90" fmla="*/ 16 w 128"/>
                  <a:gd name="T91" fmla="*/ 122 h 146"/>
                  <a:gd name="T92" fmla="*/ 10 w 128"/>
                  <a:gd name="T93" fmla="*/ 114 h 146"/>
                  <a:gd name="T94" fmla="*/ 4 w 128"/>
                  <a:gd name="T95" fmla="*/ 100 h 146"/>
                  <a:gd name="T96" fmla="*/ 0 w 128"/>
                  <a:gd name="T97" fmla="*/ 88 h 146"/>
                  <a:gd name="T98" fmla="*/ 0 w 128"/>
                  <a:gd name="T99" fmla="*/ 84 h 146"/>
                  <a:gd name="T100" fmla="*/ 2 w 128"/>
                  <a:gd name="T101" fmla="*/ 80 h 146"/>
                  <a:gd name="T102" fmla="*/ 2 w 128"/>
                  <a:gd name="T103" fmla="*/ 72 h 14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28"/>
                  <a:gd name="T157" fmla="*/ 0 h 146"/>
                  <a:gd name="T158" fmla="*/ 128 w 128"/>
                  <a:gd name="T159" fmla="*/ 146 h 14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28" h="146">
                    <a:moveTo>
                      <a:pt x="2" y="72"/>
                    </a:moveTo>
                    <a:lnTo>
                      <a:pt x="2" y="72"/>
                    </a:lnTo>
                    <a:lnTo>
                      <a:pt x="28" y="36"/>
                    </a:lnTo>
                    <a:lnTo>
                      <a:pt x="48" y="14"/>
                    </a:lnTo>
                    <a:lnTo>
                      <a:pt x="58" y="4"/>
                    </a:lnTo>
                    <a:lnTo>
                      <a:pt x="66" y="0"/>
                    </a:lnTo>
                    <a:lnTo>
                      <a:pt x="74" y="0"/>
                    </a:lnTo>
                    <a:lnTo>
                      <a:pt x="82" y="2"/>
                    </a:lnTo>
                    <a:lnTo>
                      <a:pt x="98" y="6"/>
                    </a:lnTo>
                    <a:lnTo>
                      <a:pt x="112" y="14"/>
                    </a:lnTo>
                    <a:lnTo>
                      <a:pt x="122" y="22"/>
                    </a:lnTo>
                    <a:lnTo>
                      <a:pt x="126" y="26"/>
                    </a:lnTo>
                    <a:lnTo>
                      <a:pt x="128" y="30"/>
                    </a:lnTo>
                    <a:lnTo>
                      <a:pt x="128" y="34"/>
                    </a:lnTo>
                    <a:lnTo>
                      <a:pt x="128" y="38"/>
                    </a:lnTo>
                    <a:lnTo>
                      <a:pt x="122" y="44"/>
                    </a:lnTo>
                    <a:lnTo>
                      <a:pt x="110" y="50"/>
                    </a:lnTo>
                    <a:lnTo>
                      <a:pt x="104" y="52"/>
                    </a:lnTo>
                    <a:lnTo>
                      <a:pt x="98" y="52"/>
                    </a:lnTo>
                    <a:lnTo>
                      <a:pt x="86" y="50"/>
                    </a:lnTo>
                    <a:lnTo>
                      <a:pt x="78" y="48"/>
                    </a:lnTo>
                    <a:lnTo>
                      <a:pt x="74" y="46"/>
                    </a:lnTo>
                    <a:lnTo>
                      <a:pt x="68" y="72"/>
                    </a:lnTo>
                    <a:lnTo>
                      <a:pt x="78" y="80"/>
                    </a:lnTo>
                    <a:lnTo>
                      <a:pt x="86" y="90"/>
                    </a:lnTo>
                    <a:lnTo>
                      <a:pt x="88" y="96"/>
                    </a:lnTo>
                    <a:lnTo>
                      <a:pt x="90" y="102"/>
                    </a:lnTo>
                    <a:lnTo>
                      <a:pt x="92" y="114"/>
                    </a:lnTo>
                    <a:lnTo>
                      <a:pt x="92" y="128"/>
                    </a:lnTo>
                    <a:lnTo>
                      <a:pt x="92" y="138"/>
                    </a:lnTo>
                    <a:lnTo>
                      <a:pt x="90" y="142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76" y="146"/>
                    </a:lnTo>
                    <a:lnTo>
                      <a:pt x="58" y="142"/>
                    </a:lnTo>
                    <a:lnTo>
                      <a:pt x="36" y="136"/>
                    </a:lnTo>
                    <a:lnTo>
                      <a:pt x="28" y="130"/>
                    </a:lnTo>
                    <a:lnTo>
                      <a:pt x="22" y="126"/>
                    </a:lnTo>
                    <a:lnTo>
                      <a:pt x="16" y="122"/>
                    </a:lnTo>
                    <a:lnTo>
                      <a:pt x="10" y="114"/>
                    </a:lnTo>
                    <a:lnTo>
                      <a:pt x="4" y="100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0"/>
                    </a:lnTo>
                    <a:lnTo>
                      <a:pt x="2" y="7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hange Requests in IMS are called Issues</a:t>
            </a:r>
          </a:p>
          <a:p>
            <a:r>
              <a:rPr lang="de-DE" dirty="0" smtClean="0"/>
              <a:t>Issues in IMS have three sub types</a:t>
            </a:r>
          </a:p>
          <a:p>
            <a:pPr lvl="1"/>
            <a:r>
              <a:rPr lang="de-DE" dirty="0" smtClean="0"/>
              <a:t>Feature Requests: new Features</a:t>
            </a:r>
          </a:p>
          <a:p>
            <a:pPr lvl="1"/>
            <a:r>
              <a:rPr lang="de-DE" dirty="0" smtClean="0"/>
              <a:t>Change Requests: changes to existing Features</a:t>
            </a:r>
          </a:p>
          <a:p>
            <a:pPr lvl="1"/>
            <a:r>
              <a:rPr lang="de-DE" dirty="0" smtClean="0"/>
              <a:t>Problem Reports: Bug Reports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You create Issues in IMS via the following link:    </a:t>
            </a:r>
          </a:p>
          <a:p>
            <a:r>
              <a:rPr lang="de-DE" dirty="0" smtClean="0"/>
              <a:t>    </a:t>
            </a:r>
            <a:r>
              <a:rPr lang="de-DE" dirty="0" smtClean="0">
                <a:hlinkClick r:id="rId2"/>
              </a:rPr>
              <a:t>http://ims-bs:7002/im/createissue?type=issue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sues in IMS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Frank Lippert, © Continental AG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84559" y="4277590"/>
            <a:ext cx="4914033" cy="3048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736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8813" y="2261394"/>
            <a:ext cx="4295775" cy="3038475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ogin to IMS 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  <p:sp>
        <p:nvSpPr>
          <p:cNvPr id="7" name="Abgerundete rechteckige Legende 13"/>
          <p:cNvSpPr/>
          <p:nvPr/>
        </p:nvSpPr>
        <p:spPr bwMode="auto">
          <a:xfrm>
            <a:off x="7636721" y="1585913"/>
            <a:ext cx="2250250" cy="685799"/>
          </a:xfrm>
          <a:prstGeom prst="wedgeRoundRectCallout">
            <a:avLst>
              <a:gd name="adj1" fmla="val -101978"/>
              <a:gd name="adj2" fmla="val 260531"/>
              <a:gd name="adj3" fmla="val 16667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r>
              <a:rPr lang="en-US" sz="1400" dirty="0" smtClean="0"/>
              <a:t>Enter your Windows login</a:t>
            </a:r>
            <a:br>
              <a:rPr lang="en-US" sz="1400" dirty="0" smtClean="0"/>
            </a:br>
            <a:r>
              <a:rPr lang="en-US" sz="1400" dirty="0" smtClean="0"/>
              <a:t>data to enter IMS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22020" y="6042660"/>
            <a:ext cx="8311891" cy="4760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te:  In case you don‘t have access, request one with a mail to the : </a:t>
            </a:r>
            <a:r>
              <a:rPr lang="en-US" sz="1200" dirty="0" smtClean="0">
                <a:hlinkClick r:id="rId3"/>
              </a:rPr>
              <a:t>07_WW_FM_I_BS_MKS_Support</a:t>
            </a:r>
            <a:r>
              <a:rPr lang="en-US" sz="1200" dirty="0" smtClean="0"/>
              <a:t> support mailbox</a:t>
            </a:r>
          </a:p>
          <a:p>
            <a:r>
              <a:rPr lang="en-US" sz="1200" dirty="0" smtClean="0"/>
              <a:t>           with the subject:  Access request for Change Management on &lt;YOUR_PROJECT&gt;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001490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260" y="1081088"/>
            <a:ext cx="9582881" cy="5399087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How to enter an IMS Item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  <p:sp>
        <p:nvSpPr>
          <p:cNvPr id="10" name="Rectangular Callout 9"/>
          <p:cNvSpPr/>
          <p:nvPr/>
        </p:nvSpPr>
        <p:spPr>
          <a:xfrm>
            <a:off x="266700" y="1470660"/>
            <a:ext cx="2087880" cy="1173480"/>
          </a:xfrm>
          <a:prstGeom prst="wedgeRectCallout">
            <a:avLst>
              <a:gd name="adj1" fmla="val 99828"/>
              <a:gd name="adj2" fmla="val 115747"/>
            </a:avLst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de-DE" dirty="0" smtClean="0">
                <a:solidFill>
                  <a:schemeClr val="bg2">
                    <a:lumMod val="10000"/>
                  </a:schemeClr>
                </a:solidFill>
              </a:rPr>
              <a:t>Create any available IMS Element by invoking „Create Item“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4859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385561" y="1081088"/>
            <a:ext cx="7922278" cy="5399087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How to enter an Iss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398F86-F3FA-4ECD-930C-98F6136D0AE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1" name="Abgerundete rechteckige Legende 20"/>
          <p:cNvSpPr/>
          <p:nvPr/>
        </p:nvSpPr>
        <p:spPr bwMode="auto">
          <a:xfrm>
            <a:off x="0" y="4067175"/>
            <a:ext cx="3343275" cy="1038225"/>
          </a:xfrm>
          <a:prstGeom prst="wedgeRoundRectCallout">
            <a:avLst>
              <a:gd name="adj1" fmla="val 68866"/>
              <a:gd name="adj2" fmla="val -57517"/>
              <a:gd name="adj3" fmla="val 16667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96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nter </a:t>
            </a: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er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a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</a:rPr>
              <a:t>Description</a:t>
            </a:r>
            <a:r>
              <a:rPr lang="en-US" sz="1400" dirty="0" smtClean="0">
                <a:latin typeface="Arial" charset="0"/>
              </a:rPr>
              <a:t> what has </a:t>
            </a:r>
            <a:br>
              <a:rPr lang="en-US" sz="1400" dirty="0" smtClean="0">
                <a:latin typeface="Arial" charset="0"/>
              </a:rPr>
            </a:br>
            <a:r>
              <a:rPr lang="en-US" sz="1400" dirty="0" smtClean="0">
                <a:latin typeface="Arial" charset="0"/>
              </a:rPr>
              <a:t>to be changed or what is the problem</a:t>
            </a:r>
            <a:br>
              <a:rPr lang="en-US" sz="1400" dirty="0" smtClean="0">
                <a:latin typeface="Arial" charset="0"/>
              </a:rPr>
            </a:br>
            <a:r>
              <a:rPr lang="en-US" sz="1400" dirty="0" smtClean="0">
                <a:latin typeface="Arial" charset="0"/>
              </a:rPr>
              <a:t>i.e. the clear difference between the</a:t>
            </a:r>
            <a:br>
              <a:rPr lang="en-US" sz="1400" dirty="0" smtClean="0">
                <a:latin typeface="Arial" charset="0"/>
              </a:rPr>
            </a:br>
            <a:r>
              <a:rPr lang="en-US" sz="1400" dirty="0" smtClean="0">
                <a:latin typeface="Arial" charset="0"/>
              </a:rPr>
              <a:t>current state and the desired state</a:t>
            </a:r>
          </a:p>
        </p:txBody>
      </p:sp>
      <p:sp>
        <p:nvSpPr>
          <p:cNvPr id="23" name="Abgerundete rechteckige Legende 22"/>
          <p:cNvSpPr/>
          <p:nvPr/>
        </p:nvSpPr>
        <p:spPr bwMode="auto">
          <a:xfrm>
            <a:off x="0" y="1266826"/>
            <a:ext cx="3276600" cy="914400"/>
          </a:xfrm>
          <a:prstGeom prst="wedgeRoundRectCallout">
            <a:avLst>
              <a:gd name="adj1" fmla="val 68993"/>
              <a:gd name="adj2" fmla="val 117373"/>
              <a:gd name="adj3" fmla="val 16667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r>
              <a:rPr lang="en-US" sz="1400" dirty="0" smtClean="0"/>
              <a:t>Enter here a </a:t>
            </a:r>
            <a:r>
              <a:rPr lang="en-US" sz="1400" dirty="0" smtClean="0">
                <a:solidFill>
                  <a:srgbClr val="FF0000"/>
                </a:solidFill>
              </a:rPr>
              <a:t>Summary</a:t>
            </a:r>
            <a:r>
              <a:rPr lang="en-US" sz="1400" dirty="0" smtClean="0"/>
              <a:t> which enables </a:t>
            </a:r>
            <a:br>
              <a:rPr lang="en-US" sz="1400" dirty="0" smtClean="0"/>
            </a:br>
            <a:r>
              <a:rPr lang="en-US" sz="1400" dirty="0" smtClean="0"/>
              <a:t>easy categorization of the issue </a:t>
            </a:r>
            <a:br>
              <a:rPr lang="en-US" sz="1400" dirty="0" smtClean="0"/>
            </a:br>
            <a:r>
              <a:rPr lang="en-US" sz="1400" dirty="0" smtClean="0"/>
              <a:t>and gives an idea about the contents</a:t>
            </a:r>
          </a:p>
        </p:txBody>
      </p:sp>
      <p:sp>
        <p:nvSpPr>
          <p:cNvPr id="24" name="Abgerundete rechteckige Legende 23"/>
          <p:cNvSpPr/>
          <p:nvPr/>
        </p:nvSpPr>
        <p:spPr bwMode="auto">
          <a:xfrm>
            <a:off x="0" y="2562226"/>
            <a:ext cx="3276599" cy="552449"/>
          </a:xfrm>
          <a:prstGeom prst="wedgeRoundRectCallout">
            <a:avLst>
              <a:gd name="adj1" fmla="val 68734"/>
              <a:gd name="adj2" fmla="val 28894"/>
              <a:gd name="adj3" fmla="val 16667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r>
              <a:rPr lang="en-US" sz="1400" dirty="0" smtClean="0"/>
              <a:t>Select  </a:t>
            </a:r>
            <a:r>
              <a:rPr lang="en-US" sz="1400" dirty="0" smtClean="0">
                <a:solidFill>
                  <a:srgbClr val="FF0000"/>
                </a:solidFill>
              </a:rPr>
              <a:t>&lt;YOUR_PROJECT&gt;</a:t>
            </a:r>
            <a:r>
              <a:rPr lang="en-US" sz="1400" dirty="0" smtClean="0"/>
              <a:t> for the</a:t>
            </a:r>
          </a:p>
          <a:p>
            <a:pPr>
              <a:lnSpc>
                <a:spcPct val="100000"/>
              </a:lnSpc>
            </a:pPr>
            <a:r>
              <a:rPr lang="en-US" sz="1400" dirty="0" smtClean="0"/>
              <a:t>field “Project”</a:t>
            </a:r>
          </a:p>
        </p:txBody>
      </p:sp>
      <p:sp>
        <p:nvSpPr>
          <p:cNvPr id="25" name="Abgerundete rechteckige Legende 24"/>
          <p:cNvSpPr/>
          <p:nvPr/>
        </p:nvSpPr>
        <p:spPr bwMode="auto">
          <a:xfrm>
            <a:off x="7018021" y="4962525"/>
            <a:ext cx="1895474" cy="419100"/>
          </a:xfrm>
          <a:prstGeom prst="wedgeRoundRectCallout">
            <a:avLst>
              <a:gd name="adj1" fmla="val 64193"/>
              <a:gd name="adj2" fmla="val 22499"/>
              <a:gd name="adj3" fmla="val 16667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6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ess OK </a:t>
            </a:r>
            <a:b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o create the issue</a:t>
            </a:r>
          </a:p>
        </p:txBody>
      </p:sp>
      <p:sp>
        <p:nvSpPr>
          <p:cNvPr id="31" name="Textfeld 30"/>
          <p:cNvSpPr txBox="1"/>
          <p:nvPr/>
        </p:nvSpPr>
        <p:spPr>
          <a:xfrm rot="19809235">
            <a:off x="6835836" y="3791135"/>
            <a:ext cx="3396087" cy="41348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 anchor="ctr" anchorCtr="0">
            <a:noAutofit/>
          </a:bodyPr>
          <a:lstStyle/>
          <a:p>
            <a:r>
              <a:rPr lang="en-US" sz="1800" dirty="0" smtClean="0">
                <a:solidFill>
                  <a:schemeClr val="bg1"/>
                </a:solidFill>
              </a:rPr>
              <a:t>Note: Red fields are mandatory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6" name="Fußzeilenplatzhalter 19"/>
          <p:cNvSpPr txBox="1">
            <a:spLocks/>
          </p:cNvSpPr>
          <p:nvPr/>
        </p:nvSpPr>
        <p:spPr>
          <a:xfrm>
            <a:off x="8765489" y="6957152"/>
            <a:ext cx="1927911" cy="195485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en-US" sz="800" dirty="0"/>
              <a:t>Frank Lippert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,</a:t>
            </a:r>
            <a:r>
              <a:rPr kumimoji="0" lang="en-US" sz="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© Continental AG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7" name="Datumsplatzhalter 20"/>
          <p:cNvSpPr txBox="1">
            <a:spLocks/>
          </p:cNvSpPr>
          <p:nvPr/>
        </p:nvSpPr>
        <p:spPr>
          <a:xfrm>
            <a:off x="9060899" y="6745031"/>
            <a:ext cx="926200" cy="165867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/>
          <a:p>
            <a:pPr lvl="0">
              <a:defRPr/>
            </a:pPr>
            <a:r>
              <a:rPr lang="de-DE" sz="800" dirty="0"/>
              <a:t>June 20, 2017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Abgerundete rechteckige Legende 23"/>
          <p:cNvSpPr/>
          <p:nvPr/>
        </p:nvSpPr>
        <p:spPr bwMode="auto">
          <a:xfrm>
            <a:off x="0" y="3257551"/>
            <a:ext cx="3276599" cy="685799"/>
          </a:xfrm>
          <a:prstGeom prst="wedgeRoundRectCallout">
            <a:avLst>
              <a:gd name="adj1" fmla="val 68734"/>
              <a:gd name="adj2" fmla="val -34708"/>
              <a:gd name="adj3" fmla="val 16667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r>
              <a:rPr lang="en-US" sz="1400" dirty="0" smtClean="0"/>
              <a:t>The </a:t>
            </a:r>
            <a:r>
              <a:rPr lang="en-US" sz="1400" dirty="0" smtClean="0">
                <a:solidFill>
                  <a:srgbClr val="FF0000"/>
                </a:solidFill>
              </a:rPr>
              <a:t>Issue</a:t>
            </a:r>
            <a:r>
              <a:rPr lang="en-US" sz="1400" dirty="0" smtClean="0"/>
              <a:t> </a:t>
            </a:r>
            <a:r>
              <a:rPr lang="en-US" sz="1400" dirty="0" smtClean="0">
                <a:solidFill>
                  <a:srgbClr val="FF0000"/>
                </a:solidFill>
              </a:rPr>
              <a:t>Type</a:t>
            </a:r>
            <a:r>
              <a:rPr lang="en-US" sz="1400" dirty="0" smtClean="0"/>
              <a:t> is “Problem Report”, </a:t>
            </a:r>
          </a:p>
          <a:p>
            <a:pPr>
              <a:lnSpc>
                <a:spcPct val="100000"/>
              </a:lnSpc>
            </a:pPr>
            <a:r>
              <a:rPr lang="en-US" sz="1400" dirty="0" smtClean="0"/>
              <a:t>“Change Request” or “Feature Request”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From severe findings in the PCC we will generate so-called RED_FLAG issues in IMS.</a:t>
            </a:r>
            <a:br>
              <a:rPr lang="en-US" smtClean="0"/>
            </a:br>
            <a:endParaRPr lang="en-US" smtClean="0"/>
          </a:p>
          <a:p>
            <a:r>
              <a:rPr lang="en-US" smtClean="0"/>
              <a:t>The Summary of such an issue will look like this:</a:t>
            </a:r>
          </a:p>
          <a:p>
            <a:r>
              <a:rPr lang="en-US" smtClean="0"/>
              <a:t>	#FULL_PCC: 		&lt;short description of the non-conformance&gt;</a:t>
            </a:r>
          </a:p>
          <a:p>
            <a:r>
              <a:rPr lang="en-US" smtClean="0"/>
              <a:t>The Description of such an issue will look like this:</a:t>
            </a:r>
          </a:p>
          <a:p>
            <a:r>
              <a:rPr lang="de-DE" smtClean="0"/>
              <a:t>	ASPICE_severity:    		RED_FLAG</a:t>
            </a:r>
          </a:p>
          <a:p>
            <a:r>
              <a:rPr lang="de-DE" smtClean="0"/>
              <a:t>	ASPICE_reference:    	ENG.3</a:t>
            </a:r>
          </a:p>
          <a:p>
            <a:r>
              <a:rPr lang="de-DE" smtClean="0"/>
              <a:t>	Work_Product_name:    	System Architecture</a:t>
            </a:r>
          </a:p>
          <a:p>
            <a:r>
              <a:rPr lang="de-DE" smtClean="0"/>
              <a:t>	Work_Product_link:    </a:t>
            </a:r>
          </a:p>
          <a:p>
            <a:r>
              <a:rPr lang="de-DE" smtClean="0"/>
              <a:t>	Work_Product_rating:    	N</a:t>
            </a:r>
          </a:p>
          <a:p>
            <a:r>
              <a:rPr lang="en-US" smtClean="0"/>
              <a:t>	Weakness:    		The system architecture does not exist, yet.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ed Flag Issues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03106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01" y="1964472"/>
            <a:ext cx="9546398" cy="4338673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How to find your created Issues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378726" y="1189156"/>
            <a:ext cx="5273040" cy="977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0" indent="-177800" defTabSz="996950" eaLnBrk="0" hangingPunct="0">
              <a:lnSpc>
                <a:spcPts val="1800"/>
              </a:lnSpc>
              <a:buBlip>
                <a:blip r:embed="rId3"/>
              </a:buBlip>
            </a:pPr>
            <a:r>
              <a:rPr lang="en-US" dirty="0" smtClean="0"/>
              <a:t>Click on “Queries”</a:t>
            </a:r>
          </a:p>
          <a:p>
            <a:pPr marL="177800" lvl="0" indent="-177800" defTabSz="996950" eaLnBrk="0" hangingPunct="0">
              <a:lnSpc>
                <a:spcPts val="1800"/>
              </a:lnSpc>
              <a:buBlip>
                <a:blip r:embed="rId3"/>
              </a:buBlip>
            </a:pPr>
            <a:r>
              <a:rPr lang="en-US" kern="0" dirty="0" smtClean="0"/>
              <a:t>Search for appropriate query by typing first characters</a:t>
            </a:r>
            <a:endParaRPr lang="en-US" kern="0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712731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The result page potentially shows too many found items</a:t>
            </a:r>
          </a:p>
          <a:p>
            <a:r>
              <a:rPr lang="de-DE" smtClean="0"/>
              <a:t>You can restrict the result further by invoking filters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How to find your created Issues, 2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100" y="2011312"/>
            <a:ext cx="7703820" cy="4221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5525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Search e.g. for „Assigned User is –me-“ to show only</a:t>
            </a:r>
          </a:p>
          <a:p>
            <a:r>
              <a:rPr lang="de-DE" smtClean="0"/>
              <a:t>Issues, where you are the assigned user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How to find your created Issues, 3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June 20,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ank Lippert, </a:t>
            </a:r>
            <a:r>
              <a:rPr lang="en-US" dirty="0" smtClean="0"/>
              <a:t>© Continental AG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726" y="2528536"/>
            <a:ext cx="7172694" cy="39308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949" y="1043028"/>
            <a:ext cx="4125113" cy="333124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03530" y="2017033"/>
            <a:ext cx="575280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996950" eaLnBrk="0" hangingPunct="0">
              <a:lnSpc>
                <a:spcPts val="1800"/>
              </a:lnSpc>
              <a:buBlip>
                <a:blip r:embed="rId4"/>
              </a:buBlip>
            </a:pPr>
            <a:r>
              <a:rPr lang="en-US" dirty="0"/>
              <a:t>In the </a:t>
            </a:r>
            <a:r>
              <a:rPr lang="en-US" dirty="0" smtClean="0"/>
              <a:t>“where” box, search for “project is” and select your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70181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641"/>
  <p:tag name="MIO_UPDATE" val="True"/>
  <p:tag name="MIO_VERSION" val="25.07.2012 08:48:01"/>
  <p:tag name="MIO_DBID" val="ED9FF2F2-6643-46BA-B685-7D49126FFAFF"/>
</p:tagLst>
</file>

<file path=ppt/theme/theme1.xml><?xml version="1.0" encoding="utf-8"?>
<a:theme xmlns:a="http://schemas.openxmlformats.org/drawingml/2006/main" name="PMT_Presentation_Template2">
  <a:themeElements>
    <a:clrScheme name="Continental Screen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(I IC)" ma:contentTypeID="0x01010060D3A2B5B42A0B4796CE5EB3AD8B0F97002A456781A77381488E938E7EAEEA7D01" ma:contentTypeVersion="27" ma:contentTypeDescription="SIEMENS core content type for documents (SCT)" ma:contentTypeScope="" ma:versionID="73d81fc81b87faf811b5269e8788975b">
  <xsd:schema xmlns:xsd="http://www.w3.org/2001/XMLSchema" xmlns:xs="http://www.w3.org/2001/XMLSchema" xmlns:p="http://schemas.microsoft.com/office/2006/metadata/properties" xmlns:ns1="http://schemas.microsoft.com/sharepoint/v3" xmlns:ns3="546cd8b4-ecb2-4536-a8dd-017960c4b747" xmlns:ns4="efd2185f-3e7d-457c-bc8d-79e783cbfd6f" xmlns:ns5="8605486b-25aa-4b19-a405-8fb61590f28d" xmlns:ns6="451808c3-3f06-4d77-b168-c5f697ba1e73" targetNamespace="http://schemas.microsoft.com/office/2006/metadata/properties" ma:root="true" ma:fieldsID="d109f9763600ca986bc60cce5478b47c" ns1:_="" ns3:_="" ns4:_="" ns5:_="" ns6:_="">
    <xsd:import namespace="http://schemas.microsoft.com/sharepoint/v3"/>
    <xsd:import namespace="546cd8b4-ecb2-4536-a8dd-017960c4b747"/>
    <xsd:import namespace="efd2185f-3e7d-457c-bc8d-79e783cbfd6f"/>
    <xsd:import namespace="8605486b-25aa-4b19-a405-8fb61590f28d"/>
    <xsd:import namespace="451808c3-3f06-4d77-b168-c5f697ba1e73"/>
    <xsd:element name="properties">
      <xsd:complexType>
        <xsd:sequence>
          <xsd:element name="documentManagement">
            <xsd:complexType>
              <xsd:all>
                <xsd:element ref="ns1:Language"/>
                <xsd:element ref="ns1:SCCoverageSpatialOrgUnit" minOccurs="0"/>
                <xsd:element ref="ns1:Owner" minOccurs="0"/>
                <xsd:element ref="ns3:SiemensSecurityClass"/>
                <xsd:element ref="ns4:IC_x0020_Document_x0020_Type" minOccurs="0"/>
                <xsd:element ref="ns5:Hard_x0020_link_x0020__x0028_open_x0029_" minOccurs="0"/>
                <xsd:element ref="ns5:Status_x0020_changed_x0020_by" minOccurs="0"/>
                <xsd:element ref="ns5:Status_x0020_changed_x0020_date" minOccurs="0"/>
                <xsd:element ref="ns5:Status" minOccurs="0"/>
                <xsd:element ref="ns6:PMT_x0020_Document_x0020_Type" minOccurs="0"/>
                <xsd:element ref="ns6:PMT_x0020_Discipline" minOccurs="0"/>
                <xsd:element ref="ns6:PMT_x0020_CCB_x0020_Process_x0020_Areas" minOccurs="0"/>
                <xsd:element ref="ns6:ASpice" minOccurs="0"/>
                <xsd:element ref="ns6:CMMi" minOccurs="0"/>
                <xsd:element ref="ns6:OrgFileExt" minOccurs="0"/>
                <xsd:element ref="ns6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1" ma:displayName="Language" ma:default="English (en)" ma:description="Language with ISO 639-2 language code" ma:internalName="Language">
      <xsd:simpleType>
        <xsd:union memberTypes="dms:Text">
          <xsd:simpleType>
            <xsd:restriction base="dms:Choice">
              <xsd:enumeration value="Arabic (ar)"/>
              <xsd:enumeration value="Bulgarian (bg)"/>
              <xsd:enumeration value="Chinese (zh)"/>
              <xsd:enumeration value="Croatian (hr)"/>
              <xsd:enumeration value="Czech (cs)"/>
              <xsd:enumeration value="Danish (da)"/>
              <xsd:enumeration value="Dutch (nl)"/>
              <xsd:enumeration value="English (en)"/>
              <xsd:enumeration value="Estonian (et)"/>
              <xsd:enumeration value="Finnish (fi)"/>
              <xsd:enumeration value="French (fr)"/>
              <xsd:enumeration value="German (de)"/>
              <xsd:enumeration value="Greek (el)"/>
              <xsd:enumeration value="Hebrew (he)"/>
              <xsd:enumeration value="Hindi (hi)"/>
              <xsd:enumeration value="Hungarian (hu)"/>
              <xsd:enumeration value="Indonesian (id)"/>
              <xsd:enumeration value="Italian (it)"/>
              <xsd:enumeration value="Japanese (ja)"/>
              <xsd:enumeration value="Korean (ko)"/>
              <xsd:enumeration value="Latvian (lv)"/>
              <xsd:enumeration value="Lithuanian (lt)"/>
              <xsd:enumeration value="Malay (ms)"/>
              <xsd:enumeration value="Norwegian (no)"/>
              <xsd:enumeration value="Polish (pl)"/>
              <xsd:enumeration value="Portuguese (pt)"/>
              <xsd:enumeration value="Romanian (ro)"/>
              <xsd:enumeration value="Russian (ru)"/>
              <xsd:enumeration value="Serbian (sr)"/>
              <xsd:enumeration value="Slovak (sk)"/>
              <xsd:enumeration value="Slovenian (sl)"/>
              <xsd:enumeration value="Spanish (es)"/>
              <xsd:enumeration value="Swedish (sv)"/>
              <xsd:enumeration value="Thai (th)"/>
              <xsd:enumeration value="Turkish (tr)"/>
              <xsd:enumeration value="Ukrainian (uk)"/>
              <xsd:enumeration value="Urdu (ur)"/>
              <xsd:enumeration value="Vietnamese (vi)"/>
            </xsd:restriction>
          </xsd:simpleType>
        </xsd:union>
      </xsd:simpleType>
    </xsd:element>
    <xsd:element name="SCCoverageSpatialOrgUnit" ma:index="12" nillable="true" ma:displayName="Scope (organizational)" ma:default="SIEMENS AG" ma:description="The organizational units for which the resource is relevant" ma:internalName="CoverageSpatialOrgUnit" ma:readOnly="false">
      <xsd:simpleType>
        <xsd:restriction base="dms:Text"/>
      </xsd:simpleType>
    </xsd:element>
    <xsd:element name="Owner" ma:index="13" nillable="true" ma:displayName="Owner" ma:description="E-Mail adress or GID (from SCD) of the responsible owner or an organizational unit (official abbreviation)" ma:internalName="Owner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6cd8b4-ecb2-4536-a8dd-017960c4b747" elementFormDefault="qualified">
    <xsd:import namespace="http://schemas.microsoft.com/office/2006/documentManagement/types"/>
    <xsd:import namespace="http://schemas.microsoft.com/office/infopath/2007/PartnerControls"/>
    <xsd:element name="SiemensSecurityClass" ma:index="14" ma:displayName="Security Class" ma:default="For internal use only" ma:internalName="Siemens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d2185f-3e7d-457c-bc8d-79e783cbfd6f" elementFormDefault="qualified">
    <xsd:import namespace="http://schemas.microsoft.com/office/2006/documentManagement/types"/>
    <xsd:import namespace="http://schemas.microsoft.com/office/infopath/2007/PartnerControls"/>
    <xsd:element name="IC_x0020_Document_x0020_Type" ma:index="15" nillable="true" ma:displayName="IC Document Type" ma:format="Dropdown" ma:internalName="IC_x0020_Document_x0020_Type">
      <xsd:simpleType>
        <xsd:restriction base="dms:Choice">
          <xsd:enumeration value="Product Document"/>
          <xsd:enumeration value="Project Documen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05486b-25aa-4b19-a405-8fb61590f28d" elementFormDefault="qualified">
    <xsd:import namespace="http://schemas.microsoft.com/office/2006/documentManagement/types"/>
    <xsd:import namespace="http://schemas.microsoft.com/office/infopath/2007/PartnerControls"/>
    <xsd:element name="Hard_x0020_link_x0020__x0028_open_x0029_" ma:index="16" nillable="true" ma:displayName="Hard link (open)" ma:internalName="Hard_x0020_link_x0020__x0028_open_x0029_" ma:readOnly="true">
      <xsd:simpleType>
        <xsd:restriction base="dms:Text"/>
      </xsd:simpleType>
    </xsd:element>
    <xsd:element name="Status_x0020_changed_x0020_by" ma:index="17" nillable="true" ma:displayName="Status changed by" ma:list="UserInfo" ma:internalName="Status_x0020_changed_x0020_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atus_x0020_changed_x0020_date" ma:index="18" nillable="true" ma:displayName="Status changed date" ma:internalName="Status_x0020_changed_x0020_date" ma:readOnly="true">
      <xsd:simpleType>
        <xsd:restriction base="dms:Text"/>
      </xsd:simpleType>
    </xsd:element>
    <xsd:element name="Status" ma:index="19" nillable="true" ma:displayName="Status" ma:internalName="Statu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1808c3-3f06-4d77-b168-c5f697ba1e73" elementFormDefault="qualified">
    <xsd:import namespace="http://schemas.microsoft.com/office/2006/documentManagement/types"/>
    <xsd:import namespace="http://schemas.microsoft.com/office/infopath/2007/PartnerControls"/>
    <xsd:element name="PMT_x0020_Document_x0020_Type" ma:index="20" nillable="true" ma:displayName="PMT Document Type" ma:default="Empty" ma:format="Dropdown" ma:internalName="PMT_x0020_Document_x0020_Type">
      <xsd:simpleType>
        <xsd:restriction base="dms:Choice">
          <xsd:enumeration value="Empty"/>
          <xsd:enumeration value="Manual"/>
          <xsd:enumeration value="Method"/>
          <xsd:enumeration value="Process"/>
          <xsd:enumeration value="Template"/>
          <xsd:enumeration value="Training"/>
        </xsd:restriction>
      </xsd:simpleType>
    </xsd:element>
    <xsd:element name="PMT_x0020_Discipline" ma:index="21" nillable="true" ma:displayName="PMT Discipline" ma:default="Empty" ma:format="Dropdown" ma:internalName="PMT_x0020_Discipline">
      <xsd:simpleType>
        <xsd:restriction base="dms:Choice">
          <xsd:enumeration value="Empty"/>
          <xsd:enumeration value="System Engineering"/>
          <xsd:enumeration value="Software Engineering"/>
          <xsd:enumeration value="Electrical Engineering"/>
          <xsd:enumeration value="Mechanical Engineering"/>
        </xsd:restriction>
      </xsd:simpleType>
    </xsd:element>
    <xsd:element name="PMT_x0020_CCB_x0020_Process_x0020_Areas" ma:index="22" nillable="true" ma:displayName="PMT CCB Process Areas" ma:default="Empty" ma:format="Dropdown" ma:internalName="PMT_x0020_CCB_x0020_Process_x0020_Areas">
      <xsd:simpleType>
        <xsd:restriction base="dms:Choice">
          <xsd:enumeration value="Empty"/>
          <xsd:enumeration value="Architecture"/>
          <xsd:enumeration value="Change Management"/>
          <xsd:enumeration value="Configuration Management"/>
          <xsd:enumeration value="Functional Safety"/>
          <xsd:enumeration value="Metrics"/>
          <xsd:enumeration value="Model Driven Development"/>
          <xsd:enumeration value="Process World"/>
          <xsd:enumeration value="Project Management"/>
          <xsd:enumeration value="Quality Assurance"/>
          <xsd:enumeration value="Requirements Engineering"/>
          <xsd:enumeration value="Software Design"/>
          <xsd:enumeration value="Software Development Process"/>
          <xsd:enumeration value="SW IDE"/>
          <xsd:enumeration value="SW Coding and Code Analysis"/>
          <xsd:enumeration value="System Development Process"/>
          <xsd:enumeration value="Test Engineering"/>
          <xsd:enumeration value="Training Process"/>
        </xsd:restriction>
      </xsd:simpleType>
    </xsd:element>
    <xsd:element name="ASpice" ma:index="23" nillable="true" ma:displayName="ASpice" ma:default="Empty" ma:format="Dropdown" ma:internalName="ASpice">
      <xsd:simpleType>
        <xsd:restriction base="dms:Choice">
          <xsd:enumeration value="Empty"/>
          <xsd:enumeration value="Man.1 Organizational Alignment"/>
          <xsd:enumeration value="Man.2 Organization Management"/>
          <xsd:enumeration value="Man.3 Project Management - A"/>
          <xsd:enumeration value="Man.4 Quality Management"/>
          <xsd:enumeration value="Man.5 Risk Management - A"/>
          <xsd:enumeration value="Man.6 Measurement - A"/>
          <xsd:enumeration value="Eng.1 Requirements elicitation - A"/>
          <xsd:enumeration value="Eng.2 System Requirements Analysis - A"/>
          <xsd:enumeration value="Eng.3 System Architectural Design - A"/>
          <xsd:enumeration value="Eng.4 Software Requirements Analysis - A"/>
          <xsd:enumeration value="Eng.5 SW Design - A"/>
          <xsd:enumeration value="Eng.6 SW Construction - A"/>
          <xsd:enumeration value="Eng.7 SW Integration - A"/>
          <xsd:enumeration value="Eng.8 SW Testing - A"/>
          <xsd:enumeration value="Eng.9 System Integration - A"/>
          <xsd:enumeration value="Eng.10 System Testing - A"/>
          <xsd:enumeration value="Eng.11 Software installation"/>
          <xsd:enumeration value="Eng.12 Software and System Maintenance"/>
          <xsd:enumeration value="Sup.1 Quality Assurance - A"/>
          <xsd:enumeration value="Sup.2 Verification - A"/>
          <xsd:enumeration value="Sup.3 Validation"/>
          <xsd:enumeration value="Sup.4 Joint Review - A"/>
          <xsd:enumeration value="Sup.5 Audit"/>
          <xsd:enumeration value="Sup.6 Product Evaluation"/>
          <xsd:enumeration value="Sup.7 Documentation - A"/>
          <xsd:enumeration value="Sup.8 Configuration Management - A"/>
          <xsd:enumeration value="Sup.9 Problem Resolution Management - A"/>
          <xsd:enumeration value="Sup.10 Change Request Management - A"/>
          <xsd:enumeration value="Acq.1 Acquisition Preparation"/>
          <xsd:enumeration value="Acq.2 Supplier Selection"/>
          <xsd:enumeration value="Acq.3 Contract Agreement - A"/>
          <xsd:enumeration value="Acq.4 Supplier Monitoring - A"/>
          <xsd:enumeration value="Acq.5 Customer Acceptance"/>
          <xsd:enumeration value="Acq.11 Technical Requirements - A"/>
          <xsd:enumeration value="Acq.12 Legal and administrative requirements - A"/>
          <xsd:enumeration value="Acq.13 Project requirements - A"/>
          <xsd:enumeration value="Acq.14 Request for proposals - A"/>
          <xsd:enumeration value="Acq.15 Supplier Qualification - A"/>
        </xsd:restriction>
      </xsd:simpleType>
    </xsd:element>
    <xsd:element name="CMMi" ma:index="24" nillable="true" ma:displayName="CMMi" ma:default="Empty" ma:format="Dropdown" ma:internalName="CMMi">
      <xsd:simpleType>
        <xsd:restriction base="dms:Choice">
          <xsd:enumeration value="Empty"/>
          <xsd:enumeration value="ProcM Organizational Innovation and Deployment (OID)"/>
          <xsd:enumeration value="ProcM Organizational Process Definition +IPPD (OPD+IPPD)"/>
          <xsd:enumeration value="ProcM Organizational Process Focus (OPF)"/>
          <xsd:enumeration value="ProcM Organizational Process Performance (OPP)"/>
          <xsd:enumeration value="ProcM Organizational Training (TO)"/>
          <xsd:enumeration value="PM Integrated Project Management +IPPD (IPM+IPPD)"/>
          <xsd:enumeration value="PM Project Monitoring and Control (PMC)"/>
          <xsd:enumeration value="PM Project Planning (PP)"/>
          <xsd:enumeration value="PM Quantitative Project Management (QPM)"/>
          <xsd:enumeration value="PM Risk Management (RSKM)"/>
          <xsd:enumeration value="PM Supplier Agreement Management (SAM)"/>
          <xsd:enumeration value="ENG Product Integration (PI)"/>
          <xsd:enumeration value="ENG Requirements Development (RD)"/>
          <xsd:enumeration value="ENG Requirements Management (REQM)"/>
          <xsd:enumeration value="ENG Technical Solution (TS)"/>
          <xsd:enumeration value="ENG Validation (VAL)"/>
          <xsd:enumeration value="ENG Verification (VER)"/>
          <xsd:enumeration value="SUP Causal Analysis and Resolution (CAR)"/>
          <xsd:enumeration value="SUP Configuration Management (CM)"/>
          <xsd:enumeration value="SUP Decision Analysis and Resolution (DAR)"/>
          <xsd:enumeration value="SUP Measurement and Analysis (MA)"/>
          <xsd:enumeration value="SUP Process and Product Quality Assurance (PPQA)"/>
        </xsd:restriction>
      </xsd:simpleType>
    </xsd:element>
    <xsd:element name="OrgFileExt" ma:index="25" nillable="true" ma:displayName="Orginal Ext" ma:internalName="OrgFileExt" ma:readOnly="true">
      <xsd:simpleType>
        <xsd:restriction base="dms:Text"/>
      </xsd:simpleType>
    </xsd:element>
    <xsd:element name="CurItemExt" ma:index="26" nillable="true" ma:displayName="Current Ext" ma:internalName="CurItem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 ma:index="10" ma:displayName="Description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IC_x0020_Document_x0020_Type xmlns="efd2185f-3e7d-457c-bc8d-79e783cbfd6f" xsi:nil="true"/>
    <PMT_x0020_Discipline xmlns="451808c3-3f06-4d77-b168-c5f697ba1e73">System Engineering</PMT_x0020_Discipline>
    <ASpice xmlns="451808c3-3f06-4d77-b168-c5f697ba1e73">Sup.10 Change Request Management - A</ASpice>
    <CMMi xmlns="451808c3-3f06-4d77-b168-c5f697ba1e73">SUP Causal Analysis and Resolution (CAR)</CMMi>
    <PMT_x0020_Document_x0020_Type xmlns="451808c3-3f06-4d77-b168-c5f697ba1e73">Training</PMT_x0020_Document_x0020_Type>
    <Language xmlns="http://schemas.microsoft.com/sharepoint/v3">English (en)</Language>
    <Hard_x0020_link_x0020__x0028_open_x0029_ xmlns="8605486b-25aa-4b19-a405-8fb61590f28d">https://workspace1.conti.de/content/00002960/_layouts/HardLink.aspx?guid=53301d13-1588-463e-9dca-90522fadd3d2&amp;vernum=514&amp;action=read&amp;title=PMT_PAs_ChM_in_IMS&amp;verui=1.2</Hard_x0020_link_x0020__x0028_open_x0029_>
    <SiemensSecurityClass xmlns="546cd8b4-ecb2-4536-a8dd-017960c4b747">For internal use only</SiemensSecurityClass>
    <Owner xmlns="http://schemas.microsoft.com/sharepoint/v3">I BS PMT</Owner>
    <Status_x0020_changed_x0020_by xmlns="8605486b-25aa-4b19-a405-8fb61590f28d">
      <UserInfo>
        <DisplayName>Maille, Christine</DisplayName>
        <AccountId>16</AccountId>
        <AccountType/>
      </UserInfo>
    </Status_x0020_changed_x0020_by>
    <PMT_x0020_CCB_x0020_Process_x0020_Areas xmlns="451808c3-3f06-4d77-b168-c5f697ba1e73">Change Management</PMT_x0020_CCB_x0020_Process_x0020_Areas>
    <Status xmlns="8605486b-25aa-4b19-a405-8fb61590f28d">Draft</Status>
    <SCCoverageSpatialOrgUnit xmlns="http://schemas.microsoft.com/sharepoint/v3">Continental Automotive AG</SCCoverageSpatialOrgUnit>
    <Status_x0020_changed_x0020_date xmlns="8605486b-25aa-4b19-a405-8fb61590f28d">7/31/2014 8:19:44 AM</Status_x0020_changed_x0020_dat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6AFCDC-317A-4BF3-98CA-31D457EA13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46cd8b4-ecb2-4536-a8dd-017960c4b747"/>
    <ds:schemaRef ds:uri="efd2185f-3e7d-457c-bc8d-79e783cbfd6f"/>
    <ds:schemaRef ds:uri="8605486b-25aa-4b19-a405-8fb61590f28d"/>
    <ds:schemaRef ds:uri="451808c3-3f06-4d77-b168-c5f697ba1e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1C593BB-E989-43C8-983A-C0AE880C3762}">
  <ds:schemaRefs>
    <ds:schemaRef ds:uri="http://schemas.microsoft.com/office/2006/metadata/properties"/>
    <ds:schemaRef ds:uri="efd2185f-3e7d-457c-bc8d-79e783cbfd6f"/>
    <ds:schemaRef ds:uri="http://purl.org/dc/terms/"/>
    <ds:schemaRef ds:uri="8605486b-25aa-4b19-a405-8fb61590f28d"/>
    <ds:schemaRef ds:uri="http://purl.org/dc/elements/1.1/"/>
    <ds:schemaRef ds:uri="451808c3-3f06-4d77-b168-c5f697ba1e73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546cd8b4-ecb2-4536-a8dd-017960c4b747"/>
    <ds:schemaRef ds:uri="http://schemas.openxmlformats.org/package/2006/metadata/core-properties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645145B-0D96-49BD-BD81-72FEB4EA52A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9</Words>
  <Application>Microsoft Office PowerPoint</Application>
  <PresentationFormat>Custom</PresentationFormat>
  <Paragraphs>87</Paragraphs>
  <Slides>1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Arial</vt:lpstr>
      <vt:lpstr>PMT_Presentation_Template2</vt:lpstr>
      <vt:lpstr>Short Introduction to  IMS and ICTM</vt:lpstr>
      <vt:lpstr>Issues in IMS</vt:lpstr>
      <vt:lpstr>Login to IMS </vt:lpstr>
      <vt:lpstr>How to enter an IMS Item</vt:lpstr>
      <vt:lpstr>How to enter an Issue</vt:lpstr>
      <vt:lpstr>Red Flag Issues</vt:lpstr>
      <vt:lpstr>How to find your created Issues</vt:lpstr>
      <vt:lpstr>How to find your created Issues, 2</vt:lpstr>
      <vt:lpstr>How to find your created Issues, 3</vt:lpstr>
      <vt:lpstr>ASPICE Red Flags</vt:lpstr>
      <vt:lpstr>ASPICE Query Definition</vt:lpstr>
      <vt:lpstr>IMS Support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: Change Management in IMS for PMT</dc:title>
  <dc:subject/>
  <dc:creator>Bauer Wolfram</dc:creator>
  <cp:keywords/>
  <dc:description/>
  <cp:lastModifiedBy>Lippert-EXT, Frank</cp:lastModifiedBy>
  <cp:revision>1563</cp:revision>
  <dcterms:created xsi:type="dcterms:W3CDTF">2003-12-10T09:43:46Z</dcterms:created>
  <dcterms:modified xsi:type="dcterms:W3CDTF">2017-06-27T14:51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verageSpatialOrgUnit">
    <vt:lpwstr>SIEMENS AG</vt:lpwstr>
  </property>
  <property fmtid="{D5CDD505-2E9C-101B-9397-08002B2CF9AE}" pid="3" name="SiemensSecurityClass">
    <vt:lpwstr>For internal use only</vt:lpwstr>
  </property>
  <property fmtid="{D5CDD505-2E9C-101B-9397-08002B2CF9AE}" pid="4" name="Owner">
    <vt:lpwstr/>
  </property>
  <property fmtid="{D5CDD505-2E9C-101B-9397-08002B2CF9AE}" pid="5" name="IC Document Type">
    <vt:lpwstr/>
  </property>
  <property fmtid="{D5CDD505-2E9C-101B-9397-08002B2CF9AE}" pid="6" name="PMT Discipline">
    <vt:lpwstr>Software Engineering</vt:lpwstr>
  </property>
  <property fmtid="{D5CDD505-2E9C-101B-9397-08002B2CF9AE}" pid="7" name="ASpice">
    <vt:lpwstr>Sup.8 Configuration Management - A</vt:lpwstr>
  </property>
  <property fmtid="{D5CDD505-2E9C-101B-9397-08002B2CF9AE}" pid="8" name="CMMi">
    <vt:lpwstr>SUP Configuration Management (CM)</vt:lpwstr>
  </property>
  <property fmtid="{D5CDD505-2E9C-101B-9397-08002B2CF9AE}" pid="9" name="ContentType">
    <vt:lpwstr>Document (I IC)</vt:lpwstr>
  </property>
  <property fmtid="{D5CDD505-2E9C-101B-9397-08002B2CF9AE}" pid="10" name="PMT Document Type">
    <vt:lpwstr>Training</vt:lpwstr>
  </property>
  <property fmtid="{D5CDD505-2E9C-101B-9397-08002B2CF9AE}" pid="11" name="Language">
    <vt:lpwstr>English (en)</vt:lpwstr>
  </property>
  <property fmtid="{D5CDD505-2E9C-101B-9397-08002B2CF9AE}" pid="12" name="PMT CCB Process Areas">
    <vt:lpwstr>Configuration Management</vt:lpwstr>
  </property>
  <property fmtid="{D5CDD505-2E9C-101B-9397-08002B2CF9AE}" pid="13" name="Hard link (open)">
    <vt:lpwstr>https://workspace1.siemensvdo.com/content/00002960/_layouts/HardLink.aspx?guid=23042d5d-ceac-4ff6-9dbc-ae8a9148b7ac&amp;vernum=1024&amp;action=read&amp;title=CMS_Developer_Training&amp;verui=2.0</vt:lpwstr>
  </property>
  <property fmtid="{D5CDD505-2E9C-101B-9397-08002B2CF9AE}" pid="14" name="Status changed date">
    <vt:lpwstr>07.04.2008 09:49:24</vt:lpwstr>
  </property>
  <property fmtid="{D5CDD505-2E9C-101B-9397-08002B2CF9AE}" pid="15" name="Status changed by">
    <vt:lpwstr>39</vt:lpwstr>
  </property>
  <property fmtid="{D5CDD505-2E9C-101B-9397-08002B2CF9AE}" pid="16" name="display_urn:schemas-microsoft-com:office:office#Status_x0020_changed_x0020_by">
    <vt:lpwstr>Bauer, Wolfram</vt:lpwstr>
  </property>
  <property fmtid="{D5CDD505-2E9C-101B-9397-08002B2CF9AE}" pid="17" name="Status">
    <vt:lpwstr>released</vt:lpwstr>
  </property>
  <property fmtid="{D5CDD505-2E9C-101B-9397-08002B2CF9AE}" pid="18" name="PublishFromSourceLib">
    <vt:lpwstr>false</vt:lpwstr>
  </property>
  <property fmtid="{D5CDD505-2E9C-101B-9397-08002B2CF9AE}" pid="19" name="VersionUpdatingBy">
    <vt:lpwstr>TimerJob</vt:lpwstr>
  </property>
  <property fmtid="{D5CDD505-2E9C-101B-9397-08002B2CF9AE}" pid="20" name="OldSourceVersion">
    <vt:lpwstr>2.0</vt:lpwstr>
  </property>
  <property fmtid="{D5CDD505-2E9C-101B-9397-08002B2CF9AE}" pid="21" name="SourceVersion">
    <vt:lpwstr>2.0</vt:lpwstr>
  </property>
  <property fmtid="{D5CDD505-2E9C-101B-9397-08002B2CF9AE}" pid="22" name="Subject">
    <vt:lpwstr/>
  </property>
  <property fmtid="{D5CDD505-2E9C-101B-9397-08002B2CF9AE}" pid="23" name="_Author">
    <vt:lpwstr>Bauer Wolfram</vt:lpwstr>
  </property>
  <property fmtid="{D5CDD505-2E9C-101B-9397-08002B2CF9AE}" pid="24" name="_Category">
    <vt:lpwstr/>
  </property>
  <property fmtid="{D5CDD505-2E9C-101B-9397-08002B2CF9AE}" pid="25" name="Slides">
    <vt:lpwstr>150</vt:lpwstr>
  </property>
  <property fmtid="{D5CDD505-2E9C-101B-9397-08002B2CF9AE}" pid="26" name="Categories">
    <vt:lpwstr/>
  </property>
  <property fmtid="{D5CDD505-2E9C-101B-9397-08002B2CF9AE}" pid="27" name="Approval Level">
    <vt:lpwstr/>
  </property>
  <property fmtid="{D5CDD505-2E9C-101B-9397-08002B2CF9AE}" pid="28" name="_Comments">
    <vt:lpwstr/>
  </property>
  <property fmtid="{D5CDD505-2E9C-101B-9397-08002B2CF9AE}" pid="29" name="Assigned To">
    <vt:lpwstr/>
  </property>
  <property fmtid="{D5CDD505-2E9C-101B-9397-08002B2CF9AE}" pid="30" name="Keywords">
    <vt:lpwstr/>
  </property>
  <property fmtid="{D5CDD505-2E9C-101B-9397-08002B2CF9AE}" pid="31" name="SourceSiteID">
    <vt:lpwstr/>
  </property>
  <property fmtid="{D5CDD505-2E9C-101B-9397-08002B2CF9AE}" pid="32" name="SourceSiteName">
    <vt:lpwstr/>
  </property>
  <property fmtid="{D5CDD505-2E9C-101B-9397-08002B2CF9AE}" pid="33" name="SourceGuid">
    <vt:lpwstr/>
  </property>
  <property fmtid="{D5CDD505-2E9C-101B-9397-08002B2CF9AE}" pid="34" name="SourceUrl">
    <vt:lpwstr>, </vt:lpwstr>
  </property>
  <property fmtid="{D5CDD505-2E9C-101B-9397-08002B2CF9AE}" pid="35" name="SourcePropertiesUrl">
    <vt:lpwstr>, </vt:lpwstr>
  </property>
  <property fmtid="{D5CDD505-2E9C-101B-9397-08002B2CF9AE}" pid="36" name="DocumentCreator">
    <vt:lpwstr/>
  </property>
  <property fmtid="{D5CDD505-2E9C-101B-9397-08002B2CF9AE}" pid="37" name="AutoVersion">
    <vt:lpwstr>0</vt:lpwstr>
  </property>
  <property fmtid="{D5CDD505-2E9C-101B-9397-08002B2CF9AE}" pid="38" name="LastPublisher">
    <vt:lpwstr/>
  </property>
  <property fmtid="{D5CDD505-2E9C-101B-9397-08002B2CF9AE}" pid="39" name="DepartmentLastPublisher">
    <vt:lpwstr/>
  </property>
  <property fmtid="{D5CDD505-2E9C-101B-9397-08002B2CF9AE}" pid="40" name="Units">
    <vt:lpwstr>Company</vt:lpwstr>
  </property>
  <property fmtid="{D5CDD505-2E9C-101B-9397-08002B2CF9AE}" pid="41" name="ContentTypeId">
    <vt:lpwstr>0x01010060D3A2B5B42A0B4796CE5EB3AD8B0F97002A456781A77381488E938E7EAEEA7D01</vt:lpwstr>
  </property>
  <property fmtid="{D5CDD505-2E9C-101B-9397-08002B2CF9AE}" pid="42" name="HardLink">
    <vt:lpwstr>53301d13-1588-463e-9dca-90522fadd3d2</vt:lpwstr>
  </property>
</Properties>
</file>